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1"/>
  </p:sldMasterIdLst>
  <p:notesMasterIdLst>
    <p:notesMasterId r:id="rId8"/>
  </p:notesMasterIdLst>
  <p:handoutMasterIdLst>
    <p:handoutMasterId r:id="rId9"/>
  </p:handoutMasterIdLst>
  <p:sldIdLst>
    <p:sldId id="406" r:id="rId2"/>
    <p:sldId id="407" r:id="rId3"/>
    <p:sldId id="408" r:id="rId4"/>
    <p:sldId id="409" r:id="rId5"/>
    <p:sldId id="410" r:id="rId6"/>
    <p:sldId id="411" r:id="rId7"/>
  </p:sldIdLst>
  <p:sldSz cx="11522075" cy="6480175"/>
  <p:notesSz cx="9926638" cy="6797675"/>
  <p:custDataLst>
    <p:tags r:id="rId10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  <p15:guide id="24" pos="1848" userDrawn="1">
          <p15:clr>
            <a:srgbClr val="A4A3A4"/>
          </p15:clr>
        </p15:guide>
        <p15:guide id="25" pos="1940" userDrawn="1">
          <p15:clr>
            <a:srgbClr val="A4A3A4"/>
          </p15:clr>
        </p15:guide>
        <p15:guide id="26" pos="204" userDrawn="1">
          <p15:clr>
            <a:srgbClr val="A4A3A4"/>
          </p15:clr>
        </p15:guide>
        <p15:guide id="27" orient="horz" pos="204" userDrawn="1">
          <p15:clr>
            <a:srgbClr val="A4A3A4"/>
          </p15:clr>
        </p15:guide>
        <p15:guide id="28" pos="54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  <p15:guide id="3" pos="437" userDrawn="1">
          <p15:clr>
            <a:srgbClr val="A4A3A4"/>
          </p15:clr>
        </p15:guide>
        <p15:guide id="4" pos="581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00"/>
    <a:srgbClr val="E20074"/>
    <a:srgbClr val="000000"/>
    <a:srgbClr val="C4C4C4"/>
    <a:srgbClr val="992C99"/>
    <a:srgbClr val="4B4B4B"/>
    <a:srgbClr val="00FFFF"/>
    <a:srgbClr val="66FF66"/>
    <a:srgbClr val="E1E1E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79118" autoAdjust="0"/>
  </p:normalViewPr>
  <p:slideViewPr>
    <p:cSldViewPr snapToGrid="0" snapToObjects="1">
      <p:cViewPr varScale="1">
        <p:scale>
          <a:sx n="96" d="100"/>
          <a:sy n="96" d="100"/>
        </p:scale>
        <p:origin x="1296" y="84"/>
      </p:cViewPr>
      <p:guideLst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7054"/>
        <p:guide pos="5318"/>
        <p:guide pos="3674"/>
        <p:guide pos="3584"/>
        <p:guide pos="3629"/>
        <p:guide pos="1848"/>
        <p:guide pos="1940"/>
        <p:guide pos="204"/>
        <p:guide orient="horz" pos="204"/>
        <p:guide pos="54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130" d="100"/>
          <a:sy n="130" d="100"/>
        </p:scale>
        <p:origin x="522" y="120"/>
      </p:cViewPr>
      <p:guideLst>
        <p:guide orient="horz" pos="2141"/>
        <p:guide pos="3127"/>
        <p:guide pos="437"/>
        <p:guide pos="581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PS verschiedener Systeme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A$3</c:f>
              <c:strCache>
                <c:ptCount val="1"/>
                <c:pt idx="0">
                  <c:v>TP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B$2:$F$2</c:f>
              <c:strCache>
                <c:ptCount val="5"/>
                <c:pt idx="0">
                  <c:v>Bitcoin</c:v>
                </c:pt>
                <c:pt idx="1">
                  <c:v>Ethereum</c:v>
                </c:pt>
                <c:pt idx="2">
                  <c:v>Paypal</c:v>
                </c:pt>
                <c:pt idx="3">
                  <c:v>Visa</c:v>
                </c:pt>
                <c:pt idx="4">
                  <c:v>Twitter</c:v>
                </c:pt>
              </c:strCache>
            </c:strRef>
          </c:cat>
          <c:val>
            <c:numRef>
              <c:f>Tabelle1!$B$3:$F$3</c:f>
              <c:numCache>
                <c:formatCode>General</c:formatCode>
                <c:ptCount val="5"/>
                <c:pt idx="0">
                  <c:v>7</c:v>
                </c:pt>
                <c:pt idx="1">
                  <c:v>15</c:v>
                </c:pt>
                <c:pt idx="2">
                  <c:v>115</c:v>
                </c:pt>
                <c:pt idx="3">
                  <c:v>2000</c:v>
                </c:pt>
                <c:pt idx="4">
                  <c:v>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6D-4D28-A44B-CED6C0C02FC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507571263"/>
        <c:axId val="507571679"/>
      </c:barChart>
      <c:catAx>
        <c:axId val="5075712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07571679"/>
        <c:crosses val="autoZero"/>
        <c:auto val="1"/>
        <c:lblAlgn val="ctr"/>
        <c:lblOffset val="100"/>
        <c:noMultiLvlLbl val="0"/>
      </c:catAx>
      <c:valAx>
        <c:axId val="507571679"/>
        <c:scaling>
          <c:orientation val="minMax"/>
          <c:max val="6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TP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075712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8550072" y="6423000"/>
            <a:ext cx="682620" cy="20874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Nr.›</a:t>
            </a:fld>
            <a:endParaRPr lang="de-DE" dirty="0">
              <a:latin typeface="Tele-GroteskNor" pitchFamily="2" charset="0"/>
            </a:endParaRPr>
          </a:p>
        </p:txBody>
      </p:sp>
      <p:pic>
        <p:nvPicPr>
          <p:cNvPr id="7" name="Grafik 6" descr="TSY_Logo_3c_p.em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757" y="217645"/>
            <a:ext cx="2257305" cy="410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 mod="1">
    <p:ext uri="{56416CCD-93CA-4268-BC5B-53C4BB910035}">
      <p15:sldGuideLst xmlns:p15="http://schemas.microsoft.com/office/powerpoint/2012/main">
        <p15:guide id="1" pos="438" userDrawn="1">
          <p15:clr>
            <a:srgbClr val="F26B43"/>
          </p15:clr>
        </p15:guide>
        <p15:guide id="2" pos="581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70188" y="276225"/>
            <a:ext cx="4386262" cy="2466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93042" y="2881932"/>
            <a:ext cx="8540556" cy="34059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8550978" y="6423000"/>
            <a:ext cx="682620" cy="2087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Folie</a:t>
            </a:r>
            <a:r>
              <a:rPr lang="de-DE" baseline="0" dirty="0" smtClean="0"/>
              <a:t> wird nicht im Detail erklärt, vielleicht am Ende wenn Interesse besteht</a:t>
            </a:r>
            <a:endParaRPr lang="de-DE" dirty="0" smtClean="0"/>
          </a:p>
          <a:p>
            <a:r>
              <a:rPr lang="de-DE" dirty="0" smtClean="0"/>
              <a:t>Frage: Welche</a:t>
            </a:r>
            <a:r>
              <a:rPr lang="de-DE" baseline="0" dirty="0" smtClean="0"/>
              <a:t> Version der </a:t>
            </a:r>
            <a:r>
              <a:rPr lang="de-DE" baseline="0" dirty="0" err="1" smtClean="0"/>
              <a:t>Blockchain</a:t>
            </a:r>
            <a:r>
              <a:rPr lang="de-DE" baseline="0" dirty="0" smtClean="0"/>
              <a:t> ist die gültige ?</a:t>
            </a:r>
            <a:r>
              <a:rPr lang="de-DE" baseline="0" dirty="0"/>
              <a:t> </a:t>
            </a:r>
            <a:r>
              <a:rPr lang="de-DE" baseline="0" dirty="0" smtClean="0"/>
              <a:t>Kann ein Angreifer eigene Blöcke erstellen ?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Verschiedene </a:t>
            </a:r>
            <a:r>
              <a:rPr lang="de-DE" baseline="0" dirty="0" err="1" smtClean="0">
                <a:sym typeface="Wingdings" panose="05000000000000000000" pitchFamily="2" charset="2"/>
              </a:rPr>
              <a:t>KonsensmechanikenNetzwerk</a:t>
            </a:r>
            <a:r>
              <a:rPr lang="de-DE" baseline="0" dirty="0" smtClean="0">
                <a:sym typeface="Wingdings" panose="05000000000000000000" pitchFamily="2" charset="2"/>
              </a:rPr>
              <a:t> einigt sich auf die gültige Versio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Proof </a:t>
            </a:r>
            <a:r>
              <a:rPr lang="de-DE" baseline="0" dirty="0" err="1" smtClean="0">
                <a:sym typeface="Wingdings" panose="05000000000000000000" pitchFamily="2" charset="2"/>
              </a:rPr>
              <a:t>of</a:t>
            </a:r>
            <a:r>
              <a:rPr lang="de-DE" baseline="0" dirty="0" smtClean="0">
                <a:sym typeface="Wingdings" panose="05000000000000000000" pitchFamily="2" charset="2"/>
              </a:rPr>
              <a:t> Work: Hauptsächlich genutzt  Mining</a:t>
            </a:r>
          </a:p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de-DE" baseline="0" dirty="0" smtClean="0">
                <a:sym typeface="Wingdings" panose="05000000000000000000" pitchFamily="2" charset="2"/>
              </a:rPr>
              <a:t>-Jeder PC versucht einen Hash zu finden der bestimmte Anforderungen </a:t>
            </a:r>
            <a:r>
              <a:rPr lang="de-DE" baseline="0" dirty="0" err="1" smtClean="0">
                <a:sym typeface="Wingdings" panose="05000000000000000000" pitchFamily="2" charset="2"/>
              </a:rPr>
              <a:t>erfülltSehr</a:t>
            </a:r>
            <a:r>
              <a:rPr lang="de-DE" baseline="0" dirty="0" smtClean="0">
                <a:sym typeface="Wingdings" panose="05000000000000000000" pitchFamily="2" charset="2"/>
              </a:rPr>
              <a:t> schwer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lock nur gültig wenn Hash gefunde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Angreifer muss Hash finden und schneller als alle anderen sein: Längste </a:t>
            </a:r>
            <a:r>
              <a:rPr lang="de-DE" baseline="0" dirty="0" err="1" smtClean="0">
                <a:sym typeface="Wingdings" panose="05000000000000000000" pitchFamily="2" charset="2"/>
              </a:rPr>
              <a:t>Blockchain</a:t>
            </a:r>
            <a:r>
              <a:rPr lang="de-DE" baseline="0" dirty="0" smtClean="0">
                <a:sym typeface="Wingdings" panose="05000000000000000000" pitchFamily="2" charset="2"/>
              </a:rPr>
              <a:t> ist gültige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itcoin-Netzwerk: </a:t>
            </a:r>
            <a:r>
              <a:rPr lang="de-DE" baseline="0" dirty="0" err="1" smtClean="0">
                <a:sym typeface="Wingdings" panose="05000000000000000000" pitchFamily="2" charset="2"/>
              </a:rPr>
              <a:t>Hashrate</a:t>
            </a:r>
            <a:r>
              <a:rPr lang="de-DE" baseline="0" dirty="0" smtClean="0">
                <a:sym typeface="Wingdings" panose="05000000000000000000" pitchFamily="2" charset="2"/>
              </a:rPr>
              <a:t> von 8.000.000 TH/s  7 Minuten für einen Block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Normaler PC 27 H/s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Zum Schneller sein: 51% der Rechenleist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0229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Folie</a:t>
            </a:r>
            <a:r>
              <a:rPr lang="de-DE" baseline="0" dirty="0" smtClean="0"/>
              <a:t> wird nicht im Detail erklärt, vielleicht am Ende wenn Interesse besteht</a:t>
            </a:r>
            <a:endParaRPr lang="de-DE" dirty="0" smtClean="0"/>
          </a:p>
          <a:p>
            <a:r>
              <a:rPr lang="de-DE" dirty="0" smtClean="0"/>
              <a:t>Frage: Welche</a:t>
            </a:r>
            <a:r>
              <a:rPr lang="de-DE" baseline="0" dirty="0" smtClean="0"/>
              <a:t> Version der </a:t>
            </a:r>
            <a:r>
              <a:rPr lang="de-DE" baseline="0" dirty="0" err="1" smtClean="0"/>
              <a:t>Blockchain</a:t>
            </a:r>
            <a:r>
              <a:rPr lang="de-DE" baseline="0" dirty="0" smtClean="0"/>
              <a:t> ist die gültige ?</a:t>
            </a:r>
            <a:r>
              <a:rPr lang="de-DE" baseline="0" dirty="0"/>
              <a:t> </a:t>
            </a:r>
            <a:r>
              <a:rPr lang="de-DE" baseline="0" dirty="0" smtClean="0"/>
              <a:t>Kann ein Angreifer eigene Blöcke erstellen ?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Verschiedene </a:t>
            </a:r>
            <a:r>
              <a:rPr lang="de-DE" baseline="0" dirty="0" err="1" smtClean="0">
                <a:sym typeface="Wingdings" panose="05000000000000000000" pitchFamily="2" charset="2"/>
              </a:rPr>
              <a:t>KonsensmechanikenNetzwerk</a:t>
            </a:r>
            <a:r>
              <a:rPr lang="de-DE" baseline="0" dirty="0" smtClean="0">
                <a:sym typeface="Wingdings" panose="05000000000000000000" pitchFamily="2" charset="2"/>
              </a:rPr>
              <a:t> einigt sich auf die gültige Versio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Proof </a:t>
            </a:r>
            <a:r>
              <a:rPr lang="de-DE" baseline="0" dirty="0" err="1" smtClean="0">
                <a:sym typeface="Wingdings" panose="05000000000000000000" pitchFamily="2" charset="2"/>
              </a:rPr>
              <a:t>of</a:t>
            </a:r>
            <a:r>
              <a:rPr lang="de-DE" baseline="0" dirty="0" smtClean="0">
                <a:sym typeface="Wingdings" panose="05000000000000000000" pitchFamily="2" charset="2"/>
              </a:rPr>
              <a:t> Work: Hauptsächlich genutzt  Mining</a:t>
            </a:r>
          </a:p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de-DE" baseline="0" dirty="0" smtClean="0">
                <a:sym typeface="Wingdings" panose="05000000000000000000" pitchFamily="2" charset="2"/>
              </a:rPr>
              <a:t>-Jeder PC versucht einen Hash zu finden der bestimmte Anforderungen </a:t>
            </a:r>
            <a:r>
              <a:rPr lang="de-DE" baseline="0" dirty="0" err="1" smtClean="0">
                <a:sym typeface="Wingdings" panose="05000000000000000000" pitchFamily="2" charset="2"/>
              </a:rPr>
              <a:t>erfülltSehr</a:t>
            </a:r>
            <a:r>
              <a:rPr lang="de-DE" baseline="0" dirty="0" smtClean="0">
                <a:sym typeface="Wingdings" panose="05000000000000000000" pitchFamily="2" charset="2"/>
              </a:rPr>
              <a:t> schwer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lock nur gültig wenn Hash gefunde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Angreifer muss Hash finden und schneller als alle anderen sein: Längste </a:t>
            </a:r>
            <a:r>
              <a:rPr lang="de-DE" baseline="0" dirty="0" err="1" smtClean="0">
                <a:sym typeface="Wingdings" panose="05000000000000000000" pitchFamily="2" charset="2"/>
              </a:rPr>
              <a:t>Blockchain</a:t>
            </a:r>
            <a:r>
              <a:rPr lang="de-DE" baseline="0" dirty="0" smtClean="0">
                <a:sym typeface="Wingdings" panose="05000000000000000000" pitchFamily="2" charset="2"/>
              </a:rPr>
              <a:t> ist gültige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itcoin-Netzwerk: </a:t>
            </a:r>
            <a:r>
              <a:rPr lang="de-DE" baseline="0" dirty="0" err="1" smtClean="0">
                <a:sym typeface="Wingdings" panose="05000000000000000000" pitchFamily="2" charset="2"/>
              </a:rPr>
              <a:t>Hashrate</a:t>
            </a:r>
            <a:r>
              <a:rPr lang="de-DE" baseline="0" dirty="0" smtClean="0">
                <a:sym typeface="Wingdings" panose="05000000000000000000" pitchFamily="2" charset="2"/>
              </a:rPr>
              <a:t> von 8.000.000 TH/s  7 Minuten für einen Block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Normaler PC 27 H/s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Zum Schneller sein: 51% der Rechenleist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7467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Folie</a:t>
            </a:r>
            <a:r>
              <a:rPr lang="de-DE" baseline="0" dirty="0" smtClean="0"/>
              <a:t> wird nicht im Detail erklärt, vielleicht am Ende wenn Interesse besteht</a:t>
            </a:r>
            <a:endParaRPr lang="de-DE" dirty="0" smtClean="0"/>
          </a:p>
          <a:p>
            <a:r>
              <a:rPr lang="de-DE" dirty="0" smtClean="0"/>
              <a:t>Frage: Welche</a:t>
            </a:r>
            <a:r>
              <a:rPr lang="de-DE" baseline="0" dirty="0" smtClean="0"/>
              <a:t> Version der </a:t>
            </a:r>
            <a:r>
              <a:rPr lang="de-DE" baseline="0" dirty="0" err="1" smtClean="0"/>
              <a:t>Blockchain</a:t>
            </a:r>
            <a:r>
              <a:rPr lang="de-DE" baseline="0" dirty="0" smtClean="0"/>
              <a:t> ist die gültige ?</a:t>
            </a:r>
            <a:r>
              <a:rPr lang="de-DE" baseline="0" dirty="0"/>
              <a:t> </a:t>
            </a:r>
            <a:r>
              <a:rPr lang="de-DE" baseline="0" dirty="0" smtClean="0"/>
              <a:t>Kann ein Angreifer eigene Blöcke erstellen ?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Verschiedene </a:t>
            </a:r>
            <a:r>
              <a:rPr lang="de-DE" baseline="0" dirty="0" err="1" smtClean="0">
                <a:sym typeface="Wingdings" panose="05000000000000000000" pitchFamily="2" charset="2"/>
              </a:rPr>
              <a:t>KonsensmechanikenNetzwerk</a:t>
            </a:r>
            <a:r>
              <a:rPr lang="de-DE" baseline="0" dirty="0" smtClean="0">
                <a:sym typeface="Wingdings" panose="05000000000000000000" pitchFamily="2" charset="2"/>
              </a:rPr>
              <a:t> einigt sich auf die gültige Versio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Proof </a:t>
            </a:r>
            <a:r>
              <a:rPr lang="de-DE" baseline="0" dirty="0" err="1" smtClean="0">
                <a:sym typeface="Wingdings" panose="05000000000000000000" pitchFamily="2" charset="2"/>
              </a:rPr>
              <a:t>of</a:t>
            </a:r>
            <a:r>
              <a:rPr lang="de-DE" baseline="0" dirty="0" smtClean="0">
                <a:sym typeface="Wingdings" panose="05000000000000000000" pitchFamily="2" charset="2"/>
              </a:rPr>
              <a:t> Work: Hauptsächlich genutzt  Mining</a:t>
            </a:r>
          </a:p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de-DE" baseline="0" dirty="0" smtClean="0">
                <a:sym typeface="Wingdings" panose="05000000000000000000" pitchFamily="2" charset="2"/>
              </a:rPr>
              <a:t>-Jeder PC versucht einen Hash zu finden der bestimmte Anforderungen </a:t>
            </a:r>
            <a:r>
              <a:rPr lang="de-DE" baseline="0" dirty="0" err="1" smtClean="0">
                <a:sym typeface="Wingdings" panose="05000000000000000000" pitchFamily="2" charset="2"/>
              </a:rPr>
              <a:t>erfülltSehr</a:t>
            </a:r>
            <a:r>
              <a:rPr lang="de-DE" baseline="0" dirty="0" smtClean="0">
                <a:sym typeface="Wingdings" panose="05000000000000000000" pitchFamily="2" charset="2"/>
              </a:rPr>
              <a:t> schwer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lock nur gültig wenn Hash gefunde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Angreifer muss Hash finden und schneller als alle anderen sein: Längste </a:t>
            </a:r>
            <a:r>
              <a:rPr lang="de-DE" baseline="0" dirty="0" err="1" smtClean="0">
                <a:sym typeface="Wingdings" panose="05000000000000000000" pitchFamily="2" charset="2"/>
              </a:rPr>
              <a:t>Blockchain</a:t>
            </a:r>
            <a:r>
              <a:rPr lang="de-DE" baseline="0" dirty="0" smtClean="0">
                <a:sym typeface="Wingdings" panose="05000000000000000000" pitchFamily="2" charset="2"/>
              </a:rPr>
              <a:t> ist gültige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itcoin-Netzwerk: </a:t>
            </a:r>
            <a:r>
              <a:rPr lang="de-DE" baseline="0" dirty="0" err="1" smtClean="0">
                <a:sym typeface="Wingdings" panose="05000000000000000000" pitchFamily="2" charset="2"/>
              </a:rPr>
              <a:t>Hashrate</a:t>
            </a:r>
            <a:r>
              <a:rPr lang="de-DE" baseline="0" dirty="0" smtClean="0">
                <a:sym typeface="Wingdings" panose="05000000000000000000" pitchFamily="2" charset="2"/>
              </a:rPr>
              <a:t> von 8.000.000 TH/s  7 Minuten für einen Block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Normaler PC 27 H/s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Zum Schneller sein: 51% der Rechenleist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52660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Folie</a:t>
            </a:r>
            <a:r>
              <a:rPr lang="de-DE" baseline="0" dirty="0" smtClean="0"/>
              <a:t> wird nicht im Detail erklärt, vielleicht am Ende wenn Interesse besteht</a:t>
            </a:r>
            <a:endParaRPr lang="de-DE" dirty="0" smtClean="0"/>
          </a:p>
          <a:p>
            <a:r>
              <a:rPr lang="de-DE" dirty="0" smtClean="0"/>
              <a:t>Frage: Welche</a:t>
            </a:r>
            <a:r>
              <a:rPr lang="de-DE" baseline="0" dirty="0" smtClean="0"/>
              <a:t> Version der </a:t>
            </a:r>
            <a:r>
              <a:rPr lang="de-DE" baseline="0" dirty="0" err="1" smtClean="0"/>
              <a:t>Blockchain</a:t>
            </a:r>
            <a:r>
              <a:rPr lang="de-DE" baseline="0" dirty="0" smtClean="0"/>
              <a:t> ist die gültige ?</a:t>
            </a:r>
            <a:r>
              <a:rPr lang="de-DE" baseline="0" dirty="0"/>
              <a:t> </a:t>
            </a:r>
            <a:r>
              <a:rPr lang="de-DE" baseline="0" dirty="0" smtClean="0"/>
              <a:t>Kann ein Angreifer eigene Blöcke erstellen ?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Verschiedene </a:t>
            </a:r>
            <a:r>
              <a:rPr lang="de-DE" baseline="0" dirty="0" err="1" smtClean="0">
                <a:sym typeface="Wingdings" panose="05000000000000000000" pitchFamily="2" charset="2"/>
              </a:rPr>
              <a:t>KonsensmechanikenNetzwerk</a:t>
            </a:r>
            <a:r>
              <a:rPr lang="de-DE" baseline="0" dirty="0" smtClean="0">
                <a:sym typeface="Wingdings" panose="05000000000000000000" pitchFamily="2" charset="2"/>
              </a:rPr>
              <a:t> einigt sich auf die gültige Versio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Proof </a:t>
            </a:r>
            <a:r>
              <a:rPr lang="de-DE" baseline="0" dirty="0" err="1" smtClean="0">
                <a:sym typeface="Wingdings" panose="05000000000000000000" pitchFamily="2" charset="2"/>
              </a:rPr>
              <a:t>of</a:t>
            </a:r>
            <a:r>
              <a:rPr lang="de-DE" baseline="0" dirty="0" smtClean="0">
                <a:sym typeface="Wingdings" panose="05000000000000000000" pitchFamily="2" charset="2"/>
              </a:rPr>
              <a:t> Work: Hauptsächlich genutzt  Mining</a:t>
            </a:r>
          </a:p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de-DE" baseline="0" dirty="0" smtClean="0">
                <a:sym typeface="Wingdings" panose="05000000000000000000" pitchFamily="2" charset="2"/>
              </a:rPr>
              <a:t>-Jeder PC versucht einen Hash zu finden der bestimmte Anforderungen </a:t>
            </a:r>
            <a:r>
              <a:rPr lang="de-DE" baseline="0" dirty="0" err="1" smtClean="0">
                <a:sym typeface="Wingdings" panose="05000000000000000000" pitchFamily="2" charset="2"/>
              </a:rPr>
              <a:t>erfülltSehr</a:t>
            </a:r>
            <a:r>
              <a:rPr lang="de-DE" baseline="0" dirty="0" smtClean="0">
                <a:sym typeface="Wingdings" panose="05000000000000000000" pitchFamily="2" charset="2"/>
              </a:rPr>
              <a:t> schwer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lock nur gültig wenn Hash gefunde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Angreifer muss Hash finden und schneller als alle anderen sein: Längste </a:t>
            </a:r>
            <a:r>
              <a:rPr lang="de-DE" baseline="0" dirty="0" err="1" smtClean="0">
                <a:sym typeface="Wingdings" panose="05000000000000000000" pitchFamily="2" charset="2"/>
              </a:rPr>
              <a:t>Blockchain</a:t>
            </a:r>
            <a:r>
              <a:rPr lang="de-DE" baseline="0" dirty="0" smtClean="0">
                <a:sym typeface="Wingdings" panose="05000000000000000000" pitchFamily="2" charset="2"/>
              </a:rPr>
              <a:t> ist gültige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itcoin-Netzwerk: </a:t>
            </a:r>
            <a:r>
              <a:rPr lang="de-DE" baseline="0" dirty="0" err="1" smtClean="0">
                <a:sym typeface="Wingdings" panose="05000000000000000000" pitchFamily="2" charset="2"/>
              </a:rPr>
              <a:t>Hashrate</a:t>
            </a:r>
            <a:r>
              <a:rPr lang="de-DE" baseline="0" dirty="0" smtClean="0">
                <a:sym typeface="Wingdings" panose="05000000000000000000" pitchFamily="2" charset="2"/>
              </a:rPr>
              <a:t> von 8.000.000 TH/s  7 Minuten für einen Block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Normaler PC 27 H/s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Zum Schneller sein: 51% der Rechenleist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98386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jpe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2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2077492"/>
          </a:xfrm>
          <a:noFill/>
        </p:spPr>
        <p:txBody>
          <a:bodyPr wrap="square" lIns="0" tIns="0">
            <a:spAutoFit/>
          </a:bodyPr>
          <a:lstStyle>
            <a:lvl1pPr>
              <a:defRPr sz="75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Ultra 60 (75) 90 PT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23850" y="3240088"/>
            <a:ext cx="10874375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Subheadline Tele-</a:t>
            </a:r>
            <a:r>
              <a:rPr lang="de-DE" dirty="0" err="1" smtClean="0"/>
              <a:t>GroteskFet</a:t>
            </a:r>
            <a:r>
              <a:rPr lang="de-DE" dirty="0" smtClean="0"/>
              <a:t> 18 </a:t>
            </a:r>
            <a:r>
              <a:rPr lang="de-DE" dirty="0" err="1" smtClean="0"/>
              <a:t>pt</a:t>
            </a:r>
            <a:endParaRPr lang="de-DE" dirty="0"/>
          </a:p>
        </p:txBody>
      </p:sp>
      <p:grpSp>
        <p:nvGrpSpPr>
          <p:cNvPr id="19" name="Gruppieren 18"/>
          <p:cNvGrpSpPr/>
          <p:nvPr userDrawn="1"/>
        </p:nvGrpSpPr>
        <p:grpSpPr>
          <a:xfrm>
            <a:off x="323850" y="5508625"/>
            <a:ext cx="4518026" cy="820738"/>
            <a:chOff x="323850" y="5508625"/>
            <a:chExt cx="4518026" cy="820738"/>
          </a:xfrm>
          <a:solidFill>
            <a:schemeClr val="bg1"/>
          </a:solidFill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32385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72548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11207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1514475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323850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1762125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2181225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260985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2922588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3238500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3616325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4308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4710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403768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Living Magent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1762125"/>
            <a:ext cx="10874374" cy="1661993"/>
          </a:xfrm>
          <a:noFill/>
        </p:spPr>
        <p:txBody>
          <a:bodyPr wrap="square" lIns="0" tIns="0">
            <a:sp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Ultra </a:t>
            </a:r>
            <a:br>
              <a:rPr lang="de-DE" dirty="0" smtClean="0"/>
            </a:br>
            <a:r>
              <a:rPr lang="de-DE" dirty="0" smtClean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1322943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vertikal">
    <p:bg>
      <p:bgPr>
        <a:blipFill dpi="0" rotWithShape="1">
          <a:blip r:embed="rId2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5761038" y="0"/>
            <a:ext cx="5761037" cy="647866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smtClean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6084888" y="323850"/>
            <a:ext cx="5113337" cy="5184775"/>
          </a:xfrm>
          <a:noFill/>
        </p:spPr>
        <p:txBody>
          <a:bodyPr wrap="square" lIns="0" tIns="0" anchor="ctr">
            <a:noAutofit/>
          </a:bodyPr>
          <a:lstStyle>
            <a:lvl1pPr>
              <a:defRPr sz="4500" baseline="0" smtClean="0">
                <a:solidFill>
                  <a:schemeClr val="tx2"/>
                </a:solidFill>
                <a:latin typeface="TeleGrotesk Headline" pitchFamily="2" charset="0"/>
              </a:defRPr>
            </a:lvl1pPr>
          </a:lstStyle>
          <a:p>
            <a:r>
              <a:rPr lang="de-DE" dirty="0" smtClean="0"/>
              <a:t>01</a:t>
            </a:r>
            <a:br>
              <a:rPr lang="de-DE" dirty="0" smtClean="0"/>
            </a:br>
            <a:r>
              <a:rPr lang="de-DE" dirty="0" err="1" smtClean="0"/>
              <a:t>TeleGrotesk</a:t>
            </a:r>
            <a:r>
              <a:rPr lang="de-DE" dirty="0" smtClean="0"/>
              <a:t> Headline</a:t>
            </a:r>
            <a:br>
              <a:rPr lang="de-DE" dirty="0" smtClean="0"/>
            </a:br>
            <a:r>
              <a:rPr lang="de-DE" dirty="0" smtClean="0"/>
              <a:t>(45) 60 PT</a:t>
            </a:r>
          </a:p>
        </p:txBody>
      </p:sp>
    </p:spTree>
    <p:extLst>
      <p:ext uri="{BB962C8B-B14F-4D97-AF65-F5344CB8AC3E}">
        <p14:creationId xmlns:p14="http://schemas.microsoft.com/office/powerpoint/2010/main" val="804947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3528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668475" y="1476374"/>
            <a:ext cx="3528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996237" y="1476375"/>
            <a:ext cx="3528000" cy="4032251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078158" y="1476375"/>
            <a:ext cx="2610000" cy="4032251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5"/>
            <a:ext cx="5365600" cy="403225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32625" y="1483994"/>
            <a:ext cx="5365600" cy="402463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59" descr="Bildergebnis für Blockchain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" t="28779" r="2295" b="10376"/>
          <a:stretch/>
        </p:blipFill>
        <p:spPr bwMode="auto">
          <a:xfrm>
            <a:off x="3175" y="-3477"/>
            <a:ext cx="11518900" cy="4006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597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-1" y="3240088"/>
            <a:ext cx="11522076" cy="324008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smtClean="0">
              <a:cs typeface="Arial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00"/>
            <a:ext cx="10874374" cy="1933905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 (60) 75 90 PT</a:t>
            </a:r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323850" y="5508625"/>
            <a:ext cx="4518026" cy="820738"/>
            <a:chOff x="323850" y="5508625"/>
            <a:chExt cx="4518026" cy="820738"/>
          </a:xfrm>
          <a:solidFill>
            <a:schemeClr val="bg1"/>
          </a:solidFill>
        </p:grpSpPr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32385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72548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11207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514475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323850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1762125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2181225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60985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2922588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3238500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3616325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auto">
            <a:xfrm>
              <a:off x="4308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auto">
            <a:xfrm>
              <a:off x="4710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Tisch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dirty="0">
              <a:solidFill>
                <a:srgbClr val="E20074"/>
              </a:solidFill>
              <a:latin typeface="TeleGrotesk Headline Ultra" pitchFamily="2" charset="0"/>
              <a:cs typeface="Arial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noProof="0" dirty="0">
              <a:solidFill>
                <a:srgbClr val="E20074"/>
              </a:solidFill>
              <a:latin typeface="TeleGrotesk Headline Ultra" pitchFamily="2" charset="0"/>
              <a:cs typeface="Arial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sz="4800" dirty="0" smtClean="0"/>
              <a:t>TELEGROTESK Headline ULTRA</a:t>
            </a:r>
            <a:br>
              <a:rPr lang="de-DE" sz="4800" dirty="0" smtClean="0"/>
            </a:br>
            <a:r>
              <a:rPr lang="de-DE" sz="4800" dirty="0" smtClean="0">
                <a:latin typeface="TeleGrotesk Headline" pitchFamily="2" charset="0"/>
              </a:rPr>
              <a:t>Maximal 3-zeilig</a:t>
            </a:r>
            <a:br>
              <a:rPr lang="de-DE" sz="4800" dirty="0" smtClean="0">
                <a:latin typeface="TeleGrotesk Headline" pitchFamily="2" charset="0"/>
              </a:rPr>
            </a:br>
            <a:r>
              <a:rPr lang="de-DE" sz="4800" dirty="0" smtClean="0">
                <a:latin typeface="TeleGrotesk Headline" pitchFamily="2" charset="0"/>
              </a:rPr>
              <a:t>IN 40 (48) 60 PT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Tele-Grotesk Normal in 24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pic>
        <p:nvPicPr>
          <p:cNvPr id="35" name="Grafik 34" descr="TSY_Logo_3c_p.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848" y="5671799"/>
            <a:ext cx="3388872" cy="61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883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Tischvorla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TKOM_39L_Grillen_7475.jpg"/>
          <p:cNvPicPr>
            <a:picLocks noChangeAspect="1"/>
          </p:cNvPicPr>
          <p:nvPr userDrawn="1"/>
        </p:nvPicPr>
        <p:blipFill>
          <a:blip r:embed="rId2"/>
          <a:srcRect b="-51"/>
          <a:stretch>
            <a:fillRect/>
          </a:stretch>
        </p:blipFill>
        <p:spPr bwMode="hidden">
          <a:xfrm>
            <a:off x="323849" y="324000"/>
            <a:ext cx="10872000" cy="3032196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print"/>
          <a:srcRect r="11" b="-468"/>
          <a:stretch>
            <a:fillRect/>
          </a:stretch>
        </p:blipFill>
        <p:spPr bwMode="lt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Ultra</a:t>
            </a:r>
            <a:br>
              <a:rPr lang="de-DE" dirty="0" smtClean="0"/>
            </a:b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2-zeilig in (40) 48 PT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84080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Tele-Grotesk Normal in 24 </a:t>
            </a:r>
            <a:r>
              <a:rPr lang="de-DE" dirty="0" err="1" smtClean="0"/>
              <a:t>pt</a:t>
            </a:r>
            <a:endParaRPr lang="de-DE" dirty="0"/>
          </a:p>
        </p:txBody>
      </p:sp>
      <p:pic>
        <p:nvPicPr>
          <p:cNvPr id="56" name="Grafik 55" descr="TSY_Logo_3c_p.em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23848" y="5671799"/>
            <a:ext cx="3388872" cy="61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933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schvorlage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schvorlage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ischvorlage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links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242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6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0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smtClean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1"/>
            <a:ext cx="5113337" cy="246507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</a:t>
            </a:r>
            <a:br>
              <a:rPr lang="de-DE" dirty="0" smtClean="0"/>
            </a:br>
            <a:r>
              <a:rPr lang="de-DE" dirty="0" smtClean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ubheadline Tele-</a:t>
            </a:r>
            <a:r>
              <a:rPr lang="de-DE" dirty="0" err="1" smtClean="0"/>
              <a:t>GroteskFet</a:t>
            </a:r>
            <a:r>
              <a:rPr lang="de-DE" dirty="0" smtClean="0"/>
              <a:t> 18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323850" y="5508625"/>
            <a:ext cx="4518026" cy="820738"/>
            <a:chOff x="323850" y="5508625"/>
            <a:chExt cx="4518026" cy="82073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32385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72548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11207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514475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323850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1762125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2181225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60985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2922588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3238500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3616325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auto">
            <a:xfrm>
              <a:off x="4308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auto">
            <a:xfrm>
              <a:off x="4710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60008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3870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4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white">
          <a:xfrm>
            <a:off x="5762624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smtClean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6475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 </a:t>
            </a:r>
            <a:br>
              <a:rPr lang="de-DE" dirty="0" smtClean="0"/>
            </a:br>
            <a:r>
              <a:rPr lang="de-DE" dirty="0" smtClean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6474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ubheadline Tele-</a:t>
            </a:r>
            <a:r>
              <a:rPr lang="de-DE" dirty="0" err="1" smtClean="0"/>
              <a:t>GroteskFet</a:t>
            </a:r>
            <a:r>
              <a:rPr lang="de-DE" dirty="0" smtClean="0"/>
              <a:t> 18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grpSp>
        <p:nvGrpSpPr>
          <p:cNvPr id="21" name="Gruppieren 20"/>
          <p:cNvGrpSpPr/>
          <p:nvPr userDrawn="1"/>
        </p:nvGrpSpPr>
        <p:grpSpPr>
          <a:xfrm>
            <a:off x="6086475" y="5508625"/>
            <a:ext cx="4518026" cy="820738"/>
            <a:chOff x="6086475" y="5508625"/>
            <a:chExt cx="4518026" cy="820738"/>
          </a:xfrm>
          <a:solidFill>
            <a:schemeClr val="bg1"/>
          </a:solidFill>
        </p:grpSpPr>
        <p:sp>
          <p:nvSpPr>
            <p:cNvPr id="8" name="Freeform 40"/>
            <p:cNvSpPr>
              <a:spLocks/>
            </p:cNvSpPr>
            <p:nvPr userDrawn="1"/>
          </p:nvSpPr>
          <p:spPr bwMode="auto">
            <a:xfrm>
              <a:off x="60864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41"/>
            <p:cNvSpPr>
              <a:spLocks/>
            </p:cNvSpPr>
            <p:nvPr userDrawn="1"/>
          </p:nvSpPr>
          <p:spPr bwMode="auto">
            <a:xfrm>
              <a:off x="6488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42"/>
            <p:cNvSpPr>
              <a:spLocks/>
            </p:cNvSpPr>
            <p:nvPr userDrawn="1"/>
          </p:nvSpPr>
          <p:spPr bwMode="auto">
            <a:xfrm>
              <a:off x="688340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43"/>
            <p:cNvSpPr>
              <a:spLocks/>
            </p:cNvSpPr>
            <p:nvPr userDrawn="1"/>
          </p:nvSpPr>
          <p:spPr bwMode="auto">
            <a:xfrm>
              <a:off x="7277100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44"/>
            <p:cNvSpPr>
              <a:spLocks/>
            </p:cNvSpPr>
            <p:nvPr userDrawn="1"/>
          </p:nvSpPr>
          <p:spPr bwMode="auto">
            <a:xfrm>
              <a:off x="6086475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45"/>
            <p:cNvSpPr>
              <a:spLocks/>
            </p:cNvSpPr>
            <p:nvPr userDrawn="1"/>
          </p:nvSpPr>
          <p:spPr bwMode="auto">
            <a:xfrm>
              <a:off x="7524750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46"/>
            <p:cNvSpPr>
              <a:spLocks/>
            </p:cNvSpPr>
            <p:nvPr userDrawn="1"/>
          </p:nvSpPr>
          <p:spPr bwMode="auto">
            <a:xfrm>
              <a:off x="7943850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47"/>
            <p:cNvSpPr>
              <a:spLocks/>
            </p:cNvSpPr>
            <p:nvPr userDrawn="1"/>
          </p:nvSpPr>
          <p:spPr bwMode="auto">
            <a:xfrm>
              <a:off x="8372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48"/>
            <p:cNvSpPr>
              <a:spLocks/>
            </p:cNvSpPr>
            <p:nvPr userDrawn="1"/>
          </p:nvSpPr>
          <p:spPr bwMode="auto">
            <a:xfrm>
              <a:off x="8685213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49"/>
            <p:cNvSpPr>
              <a:spLocks noEditPoints="1"/>
            </p:cNvSpPr>
            <p:nvPr userDrawn="1"/>
          </p:nvSpPr>
          <p:spPr bwMode="auto">
            <a:xfrm>
              <a:off x="9001125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50"/>
            <p:cNvSpPr>
              <a:spLocks/>
            </p:cNvSpPr>
            <p:nvPr userDrawn="1"/>
          </p:nvSpPr>
          <p:spPr bwMode="auto">
            <a:xfrm>
              <a:off x="9378950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51"/>
            <p:cNvSpPr>
              <a:spLocks/>
            </p:cNvSpPr>
            <p:nvPr userDrawn="1"/>
          </p:nvSpPr>
          <p:spPr bwMode="auto">
            <a:xfrm>
              <a:off x="1007110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52"/>
            <p:cNvSpPr>
              <a:spLocks/>
            </p:cNvSpPr>
            <p:nvPr userDrawn="1"/>
          </p:nvSpPr>
          <p:spPr bwMode="auto">
            <a:xfrm>
              <a:off x="1047273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57675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orizontal transpar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87"/>
            <a:ext cx="10874374" cy="996634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 (60) 75 90 PT</a:t>
            </a:r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323850" y="5508625"/>
            <a:ext cx="4518026" cy="820738"/>
            <a:chOff x="323850" y="5508625"/>
            <a:chExt cx="4518026" cy="820738"/>
          </a:xfrm>
          <a:solidFill>
            <a:schemeClr val="bg1"/>
          </a:solidFill>
        </p:grpSpPr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32385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72548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11207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1514475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323850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1762125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2181225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260985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2922588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4"/>
            <p:cNvSpPr>
              <a:spLocks noEditPoints="1"/>
            </p:cNvSpPr>
            <p:nvPr userDrawn="1"/>
          </p:nvSpPr>
          <p:spPr bwMode="auto">
            <a:xfrm>
              <a:off x="3238500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3616325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6"/>
            <p:cNvSpPr>
              <a:spLocks/>
            </p:cNvSpPr>
            <p:nvPr userDrawn="1"/>
          </p:nvSpPr>
          <p:spPr bwMode="auto">
            <a:xfrm>
              <a:off x="4308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7"/>
            <p:cNvSpPr>
              <a:spLocks/>
            </p:cNvSpPr>
            <p:nvPr userDrawn="1"/>
          </p:nvSpPr>
          <p:spPr bwMode="auto">
            <a:xfrm>
              <a:off x="4710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637598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links transparent 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5116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5113337" cy="246600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 </a:t>
            </a:r>
            <a:br>
              <a:rPr lang="de-DE" dirty="0" smtClean="0"/>
            </a:br>
            <a:r>
              <a:rPr lang="de-DE" dirty="0" smtClean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ubheadline Tele-</a:t>
            </a:r>
            <a:r>
              <a:rPr lang="de-DE" dirty="0" err="1" smtClean="0"/>
              <a:t>GroteskFet</a:t>
            </a:r>
            <a:r>
              <a:rPr lang="de-DE" dirty="0" smtClean="0"/>
              <a:t> 18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323850" y="5508625"/>
            <a:ext cx="4518026" cy="820738"/>
            <a:chOff x="323850" y="5508625"/>
            <a:chExt cx="4518026" cy="82073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32385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72548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11207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514475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323850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1762125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2181225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60985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2922588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3238500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3616325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auto">
            <a:xfrm>
              <a:off x="4308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auto">
            <a:xfrm>
              <a:off x="4710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976517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 transpar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</a:t>
            </a:r>
            <a:br>
              <a:rPr lang="de-DE" dirty="0" smtClean="0"/>
            </a:br>
            <a:r>
              <a:rPr lang="de-DE" dirty="0" smtClean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ubheadline Tele-</a:t>
            </a:r>
            <a:r>
              <a:rPr lang="de-DE" dirty="0" err="1" smtClean="0"/>
              <a:t>GroteskFet</a:t>
            </a:r>
            <a:r>
              <a:rPr lang="de-DE" dirty="0" smtClean="0"/>
              <a:t> 18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6086475" y="5508625"/>
            <a:ext cx="4518026" cy="820738"/>
            <a:chOff x="6086475" y="5508625"/>
            <a:chExt cx="4518026" cy="820738"/>
          </a:xfrm>
          <a:solidFill>
            <a:schemeClr val="bg1"/>
          </a:solidFill>
        </p:grpSpPr>
        <p:sp>
          <p:nvSpPr>
            <p:cNvPr id="7" name="Freeform 40"/>
            <p:cNvSpPr>
              <a:spLocks/>
            </p:cNvSpPr>
            <p:nvPr userDrawn="1"/>
          </p:nvSpPr>
          <p:spPr bwMode="auto">
            <a:xfrm>
              <a:off x="60864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41"/>
            <p:cNvSpPr>
              <a:spLocks/>
            </p:cNvSpPr>
            <p:nvPr userDrawn="1"/>
          </p:nvSpPr>
          <p:spPr bwMode="auto">
            <a:xfrm>
              <a:off x="6488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42"/>
            <p:cNvSpPr>
              <a:spLocks/>
            </p:cNvSpPr>
            <p:nvPr userDrawn="1"/>
          </p:nvSpPr>
          <p:spPr bwMode="auto">
            <a:xfrm>
              <a:off x="688340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43"/>
            <p:cNvSpPr>
              <a:spLocks/>
            </p:cNvSpPr>
            <p:nvPr userDrawn="1"/>
          </p:nvSpPr>
          <p:spPr bwMode="auto">
            <a:xfrm>
              <a:off x="7277100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44"/>
            <p:cNvSpPr>
              <a:spLocks/>
            </p:cNvSpPr>
            <p:nvPr userDrawn="1"/>
          </p:nvSpPr>
          <p:spPr bwMode="auto">
            <a:xfrm>
              <a:off x="6086475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45"/>
            <p:cNvSpPr>
              <a:spLocks/>
            </p:cNvSpPr>
            <p:nvPr userDrawn="1"/>
          </p:nvSpPr>
          <p:spPr bwMode="auto">
            <a:xfrm>
              <a:off x="7524750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46"/>
            <p:cNvSpPr>
              <a:spLocks/>
            </p:cNvSpPr>
            <p:nvPr userDrawn="1"/>
          </p:nvSpPr>
          <p:spPr bwMode="auto">
            <a:xfrm>
              <a:off x="7943850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47"/>
            <p:cNvSpPr>
              <a:spLocks/>
            </p:cNvSpPr>
            <p:nvPr userDrawn="1"/>
          </p:nvSpPr>
          <p:spPr bwMode="auto">
            <a:xfrm>
              <a:off x="8372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48"/>
            <p:cNvSpPr>
              <a:spLocks/>
            </p:cNvSpPr>
            <p:nvPr userDrawn="1"/>
          </p:nvSpPr>
          <p:spPr bwMode="auto">
            <a:xfrm>
              <a:off x="8685213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49"/>
            <p:cNvSpPr>
              <a:spLocks noEditPoints="1"/>
            </p:cNvSpPr>
            <p:nvPr userDrawn="1"/>
          </p:nvSpPr>
          <p:spPr bwMode="auto">
            <a:xfrm>
              <a:off x="9001125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50"/>
            <p:cNvSpPr>
              <a:spLocks/>
            </p:cNvSpPr>
            <p:nvPr userDrawn="1"/>
          </p:nvSpPr>
          <p:spPr bwMode="auto">
            <a:xfrm>
              <a:off x="9378950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51"/>
            <p:cNvSpPr>
              <a:spLocks/>
            </p:cNvSpPr>
            <p:nvPr userDrawn="1"/>
          </p:nvSpPr>
          <p:spPr bwMode="auto">
            <a:xfrm>
              <a:off x="1007110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52"/>
            <p:cNvSpPr>
              <a:spLocks/>
            </p:cNvSpPr>
            <p:nvPr userDrawn="1"/>
          </p:nvSpPr>
          <p:spPr bwMode="auto">
            <a:xfrm>
              <a:off x="1047273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09623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830997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Inhalt/Agenda</a:t>
            </a:r>
          </a:p>
        </p:txBody>
      </p:sp>
    </p:spTree>
    <p:extLst>
      <p:ext uri="{BB962C8B-B14F-4D97-AF65-F5344CB8AC3E}">
        <p14:creationId xmlns:p14="http://schemas.microsoft.com/office/powerpoint/2010/main" val="261152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k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7870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760890" y="0"/>
            <a:ext cx="5761186" cy="64801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smtClean="0">
              <a:cs typeface="Arial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49"/>
            <a:ext cx="5113187" cy="4860926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Inhalt/</a:t>
            </a:r>
            <a:br>
              <a:rPr lang="de-DE" dirty="0" smtClean="0"/>
            </a:br>
            <a:r>
              <a:rPr lang="de-DE" dirty="0" smtClean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60065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3095178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" name="think-cell Folie" r:id="rId29" imgW="360" imgH="360" progId="TCLayout.ActiveDocument.1">
                  <p:embed/>
                </p:oleObj>
              </mc:Choice>
              <mc:Fallback>
                <p:oleObj name="think-cell Folie" r:id="rId29" imgW="360" imgH="360" progId="TCLayout.ActiveDocument.1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2"/>
          </p:nvPr>
        </p:nvSpPr>
        <p:spPr>
          <a:xfrm>
            <a:off x="9921600" y="5832475"/>
            <a:ext cx="828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de-DE" dirty="0" err="1" smtClean="0"/>
              <a:t>tt.mm.jjjj</a:t>
            </a:r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4662000" y="5832475"/>
            <a:ext cx="5148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0" y="5832475"/>
            <a:ext cx="360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" name="Group 89"/>
          <p:cNvGrpSpPr>
            <a:grpSpLocks noChangeAspect="1"/>
          </p:cNvGrpSpPr>
          <p:nvPr userDrawn="1"/>
        </p:nvGrpSpPr>
        <p:grpSpPr bwMode="auto">
          <a:xfrm>
            <a:off x="323850" y="5832475"/>
            <a:ext cx="2257425" cy="409575"/>
            <a:chOff x="204" y="3674"/>
            <a:chExt cx="1422" cy="258"/>
          </a:xfrm>
        </p:grpSpPr>
        <p:sp>
          <p:nvSpPr>
            <p:cNvPr id="5" name="Freeform 90"/>
            <p:cNvSpPr>
              <a:spLocks/>
            </p:cNvSpPr>
            <p:nvPr userDrawn="1"/>
          </p:nvSpPr>
          <p:spPr bwMode="auto">
            <a:xfrm>
              <a:off x="204" y="3768"/>
              <a:ext cx="41" cy="42"/>
            </a:xfrm>
            <a:custGeom>
              <a:avLst/>
              <a:gdLst>
                <a:gd name="T0" fmla="*/ 0 w 41"/>
                <a:gd name="T1" fmla="*/ 42 h 42"/>
                <a:gd name="T2" fmla="*/ 0 w 41"/>
                <a:gd name="T3" fmla="*/ 0 h 42"/>
                <a:gd name="T4" fmla="*/ 20 w 41"/>
                <a:gd name="T5" fmla="*/ 0 h 42"/>
                <a:gd name="T6" fmla="*/ 41 w 41"/>
                <a:gd name="T7" fmla="*/ 0 h 42"/>
                <a:gd name="T8" fmla="*/ 41 w 41"/>
                <a:gd name="T9" fmla="*/ 42 h 42"/>
                <a:gd name="T10" fmla="*/ 0 w 41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2">
                  <a:moveTo>
                    <a:pt x="0" y="42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41" y="0"/>
                  </a:lnTo>
                  <a:lnTo>
                    <a:pt x="41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91"/>
            <p:cNvSpPr>
              <a:spLocks/>
            </p:cNvSpPr>
            <p:nvPr userDrawn="1"/>
          </p:nvSpPr>
          <p:spPr bwMode="auto">
            <a:xfrm>
              <a:off x="330" y="3768"/>
              <a:ext cx="42" cy="42"/>
            </a:xfrm>
            <a:custGeom>
              <a:avLst/>
              <a:gdLst>
                <a:gd name="T0" fmla="*/ 0 w 42"/>
                <a:gd name="T1" fmla="*/ 42 h 42"/>
                <a:gd name="T2" fmla="*/ 0 w 42"/>
                <a:gd name="T3" fmla="*/ 0 h 42"/>
                <a:gd name="T4" fmla="*/ 23 w 42"/>
                <a:gd name="T5" fmla="*/ 0 h 42"/>
                <a:gd name="T6" fmla="*/ 42 w 42"/>
                <a:gd name="T7" fmla="*/ 0 h 42"/>
                <a:gd name="T8" fmla="*/ 42 w 42"/>
                <a:gd name="T9" fmla="*/ 42 h 42"/>
                <a:gd name="T10" fmla="*/ 0 w 42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2">
                  <a:moveTo>
                    <a:pt x="0" y="42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42" y="0"/>
                  </a:lnTo>
                  <a:lnTo>
                    <a:pt x="42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92"/>
            <p:cNvSpPr>
              <a:spLocks/>
            </p:cNvSpPr>
            <p:nvPr userDrawn="1"/>
          </p:nvSpPr>
          <p:spPr bwMode="auto">
            <a:xfrm>
              <a:off x="455" y="3768"/>
              <a:ext cx="42" cy="42"/>
            </a:xfrm>
            <a:custGeom>
              <a:avLst/>
              <a:gdLst>
                <a:gd name="T0" fmla="*/ 0 w 42"/>
                <a:gd name="T1" fmla="*/ 42 h 42"/>
                <a:gd name="T2" fmla="*/ 0 w 42"/>
                <a:gd name="T3" fmla="*/ 0 h 42"/>
                <a:gd name="T4" fmla="*/ 21 w 42"/>
                <a:gd name="T5" fmla="*/ 0 h 42"/>
                <a:gd name="T6" fmla="*/ 42 w 42"/>
                <a:gd name="T7" fmla="*/ 0 h 42"/>
                <a:gd name="T8" fmla="*/ 42 w 42"/>
                <a:gd name="T9" fmla="*/ 42 h 42"/>
                <a:gd name="T10" fmla="*/ 0 w 42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2">
                  <a:moveTo>
                    <a:pt x="0" y="42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42" y="0"/>
                  </a:lnTo>
                  <a:lnTo>
                    <a:pt x="42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93"/>
            <p:cNvSpPr>
              <a:spLocks/>
            </p:cNvSpPr>
            <p:nvPr userDrawn="1"/>
          </p:nvSpPr>
          <p:spPr bwMode="auto">
            <a:xfrm>
              <a:off x="579" y="3768"/>
              <a:ext cx="42" cy="42"/>
            </a:xfrm>
            <a:custGeom>
              <a:avLst/>
              <a:gdLst>
                <a:gd name="T0" fmla="*/ 0 w 42"/>
                <a:gd name="T1" fmla="*/ 42 h 42"/>
                <a:gd name="T2" fmla="*/ 0 w 42"/>
                <a:gd name="T3" fmla="*/ 0 h 42"/>
                <a:gd name="T4" fmla="*/ 19 w 42"/>
                <a:gd name="T5" fmla="*/ 0 h 42"/>
                <a:gd name="T6" fmla="*/ 42 w 42"/>
                <a:gd name="T7" fmla="*/ 0 h 42"/>
                <a:gd name="T8" fmla="*/ 42 w 42"/>
                <a:gd name="T9" fmla="*/ 42 h 42"/>
                <a:gd name="T10" fmla="*/ 0 w 42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2">
                  <a:moveTo>
                    <a:pt x="0" y="42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42" y="0"/>
                  </a:lnTo>
                  <a:lnTo>
                    <a:pt x="42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94"/>
            <p:cNvSpPr>
              <a:spLocks/>
            </p:cNvSpPr>
            <p:nvPr userDrawn="1"/>
          </p:nvSpPr>
          <p:spPr bwMode="auto">
            <a:xfrm>
              <a:off x="204" y="3674"/>
              <a:ext cx="168" cy="20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95"/>
            <p:cNvSpPr>
              <a:spLocks/>
            </p:cNvSpPr>
            <p:nvPr userDrawn="1"/>
          </p:nvSpPr>
          <p:spPr bwMode="auto">
            <a:xfrm>
              <a:off x="657" y="3677"/>
              <a:ext cx="123" cy="206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96"/>
            <p:cNvSpPr>
              <a:spLocks/>
            </p:cNvSpPr>
            <p:nvPr userDrawn="1"/>
          </p:nvSpPr>
          <p:spPr bwMode="auto">
            <a:xfrm>
              <a:off x="788" y="3743"/>
              <a:ext cx="133" cy="189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97"/>
            <p:cNvSpPr>
              <a:spLocks/>
            </p:cNvSpPr>
            <p:nvPr userDrawn="1"/>
          </p:nvSpPr>
          <p:spPr bwMode="auto">
            <a:xfrm>
              <a:off x="924" y="3740"/>
              <a:ext cx="94" cy="141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98"/>
            <p:cNvSpPr>
              <a:spLocks/>
            </p:cNvSpPr>
            <p:nvPr userDrawn="1"/>
          </p:nvSpPr>
          <p:spPr bwMode="auto">
            <a:xfrm>
              <a:off x="1022" y="3691"/>
              <a:ext cx="91" cy="190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99"/>
            <p:cNvSpPr>
              <a:spLocks noEditPoints="1"/>
            </p:cNvSpPr>
            <p:nvPr userDrawn="1"/>
          </p:nvSpPr>
          <p:spPr bwMode="auto">
            <a:xfrm>
              <a:off x="1122" y="3739"/>
              <a:ext cx="108" cy="144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00"/>
            <p:cNvSpPr>
              <a:spLocks/>
            </p:cNvSpPr>
            <p:nvPr userDrawn="1"/>
          </p:nvSpPr>
          <p:spPr bwMode="auto">
            <a:xfrm>
              <a:off x="1240" y="3740"/>
              <a:ext cx="204" cy="139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01"/>
            <p:cNvSpPr>
              <a:spLocks/>
            </p:cNvSpPr>
            <p:nvPr userDrawn="1"/>
          </p:nvSpPr>
          <p:spPr bwMode="auto">
            <a:xfrm>
              <a:off x="1458" y="3740"/>
              <a:ext cx="95" cy="141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02"/>
            <p:cNvSpPr>
              <a:spLocks/>
            </p:cNvSpPr>
            <p:nvPr userDrawn="1"/>
          </p:nvSpPr>
          <p:spPr bwMode="auto">
            <a:xfrm>
              <a:off x="1585" y="3768"/>
              <a:ext cx="41" cy="42"/>
            </a:xfrm>
            <a:custGeom>
              <a:avLst/>
              <a:gdLst>
                <a:gd name="T0" fmla="*/ 0 w 41"/>
                <a:gd name="T1" fmla="*/ 42 h 42"/>
                <a:gd name="T2" fmla="*/ 0 w 41"/>
                <a:gd name="T3" fmla="*/ 0 h 42"/>
                <a:gd name="T4" fmla="*/ 22 w 41"/>
                <a:gd name="T5" fmla="*/ 0 h 42"/>
                <a:gd name="T6" fmla="*/ 41 w 41"/>
                <a:gd name="T7" fmla="*/ 0 h 42"/>
                <a:gd name="T8" fmla="*/ 41 w 41"/>
                <a:gd name="T9" fmla="*/ 42 h 42"/>
                <a:gd name="T10" fmla="*/ 0 w 41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2">
                  <a:moveTo>
                    <a:pt x="0" y="42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41" y="0"/>
                  </a:lnTo>
                  <a:lnTo>
                    <a:pt x="41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61" r:id="rId2"/>
    <p:sldLayoutId id="2147483999" r:id="rId3"/>
    <p:sldLayoutId id="2147484002" r:id="rId4"/>
    <p:sldLayoutId id="2147483990" r:id="rId5"/>
    <p:sldLayoutId id="2147484013" r:id="rId6"/>
    <p:sldLayoutId id="2147484014" r:id="rId7"/>
    <p:sldLayoutId id="2147483986" r:id="rId8"/>
    <p:sldLayoutId id="2147483985" r:id="rId9"/>
    <p:sldLayoutId id="2147483982" r:id="rId10"/>
    <p:sldLayoutId id="2147484011" r:id="rId11"/>
    <p:sldLayoutId id="2147483718" r:id="rId12"/>
    <p:sldLayoutId id="2147483722" r:id="rId13"/>
    <p:sldLayoutId id="2147483723" r:id="rId14"/>
    <p:sldLayoutId id="2147483969" r:id="rId15"/>
    <p:sldLayoutId id="2147483970" r:id="rId16"/>
    <p:sldLayoutId id="2147483972" r:id="rId17"/>
    <p:sldLayoutId id="2147483971" r:id="rId18"/>
    <p:sldLayoutId id="2147483973" r:id="rId19"/>
    <p:sldLayoutId id="2147483716" r:id="rId20"/>
    <p:sldLayoutId id="2147484018" r:id="rId21"/>
    <p:sldLayoutId id="2147484019" r:id="rId22"/>
    <p:sldLayoutId id="2147483930" r:id="rId23"/>
    <p:sldLayoutId id="2147483959" r:id="rId24"/>
    <p:sldLayoutId id="2147483960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09" userDrawn="1">
          <p15:clr>
            <a:srgbClr val="F26B43"/>
          </p15:clr>
        </p15:guide>
        <p15:guide id="17" pos="5318" userDrawn="1">
          <p15:clr>
            <a:srgbClr val="F26B43"/>
          </p15:clr>
        </p15:guide>
        <p15:guide id="20" pos="3833" userDrawn="1">
          <p15:clr>
            <a:srgbClr val="FDE53C"/>
          </p15:clr>
        </p15:guide>
        <p15:guide id="21" pos="3425" userDrawn="1">
          <p15:clr>
            <a:srgbClr val="FDE53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1</a:t>
            </a:fld>
            <a:endParaRPr lang="de-DE" dirty="0"/>
          </a:p>
        </p:txBody>
      </p:sp>
      <p:grpSp>
        <p:nvGrpSpPr>
          <p:cNvPr id="14" name="Gruppieren 13"/>
          <p:cNvGrpSpPr>
            <a:grpSpLocks noChangeAspect="1"/>
          </p:cNvGrpSpPr>
          <p:nvPr/>
        </p:nvGrpSpPr>
        <p:grpSpPr>
          <a:xfrm>
            <a:off x="4955744" y="4602435"/>
            <a:ext cx="1610586" cy="684000"/>
            <a:chOff x="4955744" y="4602435"/>
            <a:chExt cx="1610586" cy="676272"/>
          </a:xfrm>
        </p:grpSpPr>
        <p:sp>
          <p:nvSpPr>
            <p:cNvPr id="36" name="Rechteck 35"/>
            <p:cNvSpPr/>
            <p:nvPr/>
          </p:nvSpPr>
          <p:spPr bwMode="gray">
            <a:xfrm>
              <a:off x="5134702" y="4602435"/>
              <a:ext cx="626335" cy="67627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72000" tIns="72000" rIns="72000" bIns="72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 smtClean="0">
                <a:cs typeface="Arial" charset="0"/>
              </a:endParaRPr>
            </a:p>
          </p:txBody>
        </p:sp>
        <p:cxnSp>
          <p:nvCxnSpPr>
            <p:cNvPr id="5" name="Gerade Verbindung mit Pfeil 4"/>
            <p:cNvCxnSpPr/>
            <p:nvPr/>
          </p:nvCxnSpPr>
          <p:spPr>
            <a:xfrm>
              <a:off x="4955744" y="4940108"/>
              <a:ext cx="178958" cy="928"/>
            </a:xfrm>
            <a:prstGeom prst="straightConnector1">
              <a:avLst/>
            </a:prstGeom>
            <a:ln>
              <a:tailEnd type="triangle"/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64" name="Rechteck 63"/>
            <p:cNvSpPr/>
            <p:nvPr/>
          </p:nvSpPr>
          <p:spPr bwMode="gray">
            <a:xfrm>
              <a:off x="5939995" y="4602435"/>
              <a:ext cx="626335" cy="676272"/>
            </a:xfrm>
            <a:prstGeom prst="rect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72000" tIns="72000" rIns="72000" bIns="72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de-DE" sz="1800" dirty="0" smtClean="0">
                  <a:cs typeface="Arial" charset="0"/>
                </a:rPr>
                <a:t>Block O</a:t>
              </a:r>
            </a:p>
          </p:txBody>
        </p:sp>
        <p:cxnSp>
          <p:nvCxnSpPr>
            <p:cNvPr id="65" name="Gerade Verbindung mit Pfeil 64"/>
            <p:cNvCxnSpPr/>
            <p:nvPr/>
          </p:nvCxnSpPr>
          <p:spPr>
            <a:xfrm>
              <a:off x="5761037" y="4937000"/>
              <a:ext cx="178958" cy="7142"/>
            </a:xfrm>
            <a:prstGeom prst="straightConnector1">
              <a:avLst/>
            </a:prstGeom>
            <a:ln>
              <a:tailEnd type="triangle"/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86" name="Gruppieren 85"/>
          <p:cNvGrpSpPr/>
          <p:nvPr/>
        </p:nvGrpSpPr>
        <p:grpSpPr>
          <a:xfrm>
            <a:off x="2103527" y="715260"/>
            <a:ext cx="7493977" cy="3569966"/>
            <a:chOff x="1332322" y="212607"/>
            <a:chExt cx="8717944" cy="4153036"/>
          </a:xfrm>
        </p:grpSpPr>
        <p:sp>
          <p:nvSpPr>
            <p:cNvPr id="87" name="Shape 1553"/>
            <p:cNvSpPr/>
            <p:nvPr/>
          </p:nvSpPr>
          <p:spPr>
            <a:xfrm>
              <a:off x="1332322" y="212607"/>
              <a:ext cx="8717944" cy="4153036"/>
            </a:xfrm>
            <a:custGeom>
              <a:avLst/>
              <a:gdLst/>
              <a:ahLst/>
              <a:cxnLst/>
              <a:rect l="0" t="0" r="0" b="0"/>
              <a:pathLst>
                <a:path w="285750" h="136125" extrusionOk="0">
                  <a:moveTo>
                    <a:pt x="74830" y="1313"/>
                  </a:moveTo>
                  <a:lnTo>
                    <a:pt x="74352" y="1330"/>
                  </a:lnTo>
                  <a:lnTo>
                    <a:pt x="74864" y="1330"/>
                  </a:lnTo>
                  <a:lnTo>
                    <a:pt x="74830" y="1313"/>
                  </a:lnTo>
                  <a:close/>
                  <a:moveTo>
                    <a:pt x="77830" y="1739"/>
                  </a:moveTo>
                  <a:lnTo>
                    <a:pt x="77830" y="1739"/>
                  </a:lnTo>
                  <a:lnTo>
                    <a:pt x="77830" y="1739"/>
                  </a:lnTo>
                  <a:close/>
                  <a:moveTo>
                    <a:pt x="176011" y="1432"/>
                  </a:moveTo>
                  <a:lnTo>
                    <a:pt x="176114" y="1636"/>
                  </a:lnTo>
                  <a:lnTo>
                    <a:pt x="175500" y="1841"/>
                  </a:lnTo>
                  <a:lnTo>
                    <a:pt x="175807" y="1943"/>
                  </a:lnTo>
                  <a:lnTo>
                    <a:pt x="178875" y="1943"/>
                  </a:lnTo>
                  <a:lnTo>
                    <a:pt x="178773" y="1636"/>
                  </a:lnTo>
                  <a:lnTo>
                    <a:pt x="176011" y="1432"/>
                  </a:lnTo>
                  <a:close/>
                  <a:moveTo>
                    <a:pt x="135102" y="1841"/>
                  </a:moveTo>
                  <a:lnTo>
                    <a:pt x="134898" y="1943"/>
                  </a:lnTo>
                  <a:lnTo>
                    <a:pt x="135102" y="2045"/>
                  </a:lnTo>
                  <a:lnTo>
                    <a:pt x="134489" y="2045"/>
                  </a:lnTo>
                  <a:lnTo>
                    <a:pt x="134795" y="2148"/>
                  </a:lnTo>
                  <a:lnTo>
                    <a:pt x="134489" y="2148"/>
                  </a:lnTo>
                  <a:lnTo>
                    <a:pt x="135920" y="2352"/>
                  </a:lnTo>
                  <a:lnTo>
                    <a:pt x="135307" y="2455"/>
                  </a:lnTo>
                  <a:lnTo>
                    <a:pt x="137148" y="2557"/>
                  </a:lnTo>
                  <a:lnTo>
                    <a:pt x="137148" y="2659"/>
                  </a:lnTo>
                  <a:lnTo>
                    <a:pt x="139500" y="2148"/>
                  </a:lnTo>
                  <a:lnTo>
                    <a:pt x="137148" y="2045"/>
                  </a:lnTo>
                  <a:lnTo>
                    <a:pt x="137250" y="1841"/>
                  </a:lnTo>
                  <a:lnTo>
                    <a:pt x="136739" y="1841"/>
                  </a:lnTo>
                  <a:lnTo>
                    <a:pt x="136739" y="2045"/>
                  </a:lnTo>
                  <a:lnTo>
                    <a:pt x="135102" y="1841"/>
                  </a:lnTo>
                  <a:close/>
                  <a:moveTo>
                    <a:pt x="178466" y="2045"/>
                  </a:moveTo>
                  <a:lnTo>
                    <a:pt x="177443" y="2148"/>
                  </a:lnTo>
                  <a:lnTo>
                    <a:pt x="177136" y="2455"/>
                  </a:lnTo>
                  <a:lnTo>
                    <a:pt x="181534" y="2864"/>
                  </a:lnTo>
                  <a:lnTo>
                    <a:pt x="181534" y="2864"/>
                  </a:lnTo>
                  <a:lnTo>
                    <a:pt x="180716" y="2659"/>
                  </a:lnTo>
                  <a:lnTo>
                    <a:pt x="181023" y="2659"/>
                  </a:lnTo>
                  <a:lnTo>
                    <a:pt x="180818" y="2250"/>
                  </a:lnTo>
                  <a:lnTo>
                    <a:pt x="178466" y="2045"/>
                  </a:lnTo>
                  <a:close/>
                  <a:moveTo>
                    <a:pt x="75068" y="3170"/>
                  </a:moveTo>
                  <a:lnTo>
                    <a:pt x="74870" y="3225"/>
                  </a:lnTo>
                  <a:lnTo>
                    <a:pt x="75022" y="3201"/>
                  </a:lnTo>
                  <a:lnTo>
                    <a:pt x="75022" y="3201"/>
                  </a:lnTo>
                  <a:lnTo>
                    <a:pt x="75068" y="3170"/>
                  </a:lnTo>
                  <a:close/>
                  <a:moveTo>
                    <a:pt x="72920" y="1227"/>
                  </a:moveTo>
                  <a:lnTo>
                    <a:pt x="72102" y="1330"/>
                  </a:lnTo>
                  <a:lnTo>
                    <a:pt x="72511" y="1330"/>
                  </a:lnTo>
                  <a:lnTo>
                    <a:pt x="70977" y="1534"/>
                  </a:lnTo>
                  <a:lnTo>
                    <a:pt x="71591" y="1739"/>
                  </a:lnTo>
                  <a:lnTo>
                    <a:pt x="70364" y="1739"/>
                  </a:lnTo>
                  <a:lnTo>
                    <a:pt x="70568" y="1841"/>
                  </a:lnTo>
                  <a:lnTo>
                    <a:pt x="70057" y="1943"/>
                  </a:lnTo>
                  <a:lnTo>
                    <a:pt x="71080" y="2045"/>
                  </a:lnTo>
                  <a:lnTo>
                    <a:pt x="69648" y="2045"/>
                  </a:lnTo>
                  <a:lnTo>
                    <a:pt x="69750" y="2352"/>
                  </a:lnTo>
                  <a:lnTo>
                    <a:pt x="70670" y="2352"/>
                  </a:lnTo>
                  <a:lnTo>
                    <a:pt x="69545" y="2557"/>
                  </a:lnTo>
                  <a:lnTo>
                    <a:pt x="70568" y="2557"/>
                  </a:lnTo>
                  <a:lnTo>
                    <a:pt x="70466" y="2659"/>
                  </a:lnTo>
                  <a:lnTo>
                    <a:pt x="72102" y="2557"/>
                  </a:lnTo>
                  <a:lnTo>
                    <a:pt x="70773" y="2761"/>
                  </a:lnTo>
                  <a:lnTo>
                    <a:pt x="70466" y="2966"/>
                  </a:lnTo>
                  <a:lnTo>
                    <a:pt x="70159" y="3068"/>
                  </a:lnTo>
                  <a:lnTo>
                    <a:pt x="70977" y="3170"/>
                  </a:lnTo>
                  <a:lnTo>
                    <a:pt x="70364" y="3273"/>
                  </a:lnTo>
                  <a:lnTo>
                    <a:pt x="72102" y="3477"/>
                  </a:lnTo>
                  <a:lnTo>
                    <a:pt x="72102" y="3170"/>
                  </a:lnTo>
                  <a:lnTo>
                    <a:pt x="72307" y="3273"/>
                  </a:lnTo>
                  <a:lnTo>
                    <a:pt x="73330" y="3170"/>
                  </a:lnTo>
                  <a:lnTo>
                    <a:pt x="73227" y="3068"/>
                  </a:lnTo>
                  <a:lnTo>
                    <a:pt x="73739" y="2864"/>
                  </a:lnTo>
                  <a:lnTo>
                    <a:pt x="73432" y="3068"/>
                  </a:lnTo>
                  <a:lnTo>
                    <a:pt x="75580" y="2557"/>
                  </a:lnTo>
                  <a:lnTo>
                    <a:pt x="74557" y="2455"/>
                  </a:lnTo>
                  <a:lnTo>
                    <a:pt x="74659" y="2045"/>
                  </a:lnTo>
                  <a:lnTo>
                    <a:pt x="74966" y="1841"/>
                  </a:lnTo>
                  <a:lnTo>
                    <a:pt x="74352" y="1943"/>
                  </a:lnTo>
                  <a:lnTo>
                    <a:pt x="74455" y="2045"/>
                  </a:lnTo>
                  <a:lnTo>
                    <a:pt x="73534" y="1739"/>
                  </a:lnTo>
                  <a:lnTo>
                    <a:pt x="73534" y="1636"/>
                  </a:lnTo>
                  <a:lnTo>
                    <a:pt x="72920" y="1227"/>
                  </a:lnTo>
                  <a:close/>
                  <a:moveTo>
                    <a:pt x="74870" y="3225"/>
                  </a:moveTo>
                  <a:lnTo>
                    <a:pt x="73227" y="3477"/>
                  </a:lnTo>
                  <a:lnTo>
                    <a:pt x="74301" y="3380"/>
                  </a:lnTo>
                  <a:lnTo>
                    <a:pt x="74301" y="3380"/>
                  </a:lnTo>
                  <a:lnTo>
                    <a:pt x="74870" y="3225"/>
                  </a:lnTo>
                  <a:close/>
                  <a:moveTo>
                    <a:pt x="74352" y="3375"/>
                  </a:moveTo>
                  <a:lnTo>
                    <a:pt x="74301" y="3380"/>
                  </a:lnTo>
                  <a:lnTo>
                    <a:pt x="74301" y="3380"/>
                  </a:lnTo>
                  <a:lnTo>
                    <a:pt x="73943" y="3477"/>
                  </a:lnTo>
                  <a:lnTo>
                    <a:pt x="74352" y="3375"/>
                  </a:lnTo>
                  <a:close/>
                  <a:moveTo>
                    <a:pt x="182148" y="2557"/>
                  </a:moveTo>
                  <a:lnTo>
                    <a:pt x="182250" y="2966"/>
                  </a:lnTo>
                  <a:lnTo>
                    <a:pt x="182148" y="3170"/>
                  </a:lnTo>
                  <a:lnTo>
                    <a:pt x="182045" y="3580"/>
                  </a:lnTo>
                  <a:lnTo>
                    <a:pt x="185114" y="3170"/>
                  </a:lnTo>
                  <a:lnTo>
                    <a:pt x="183682" y="2761"/>
                  </a:lnTo>
                  <a:lnTo>
                    <a:pt x="183170" y="2864"/>
                  </a:lnTo>
                  <a:lnTo>
                    <a:pt x="182966" y="2761"/>
                  </a:lnTo>
                  <a:lnTo>
                    <a:pt x="183068" y="2659"/>
                  </a:lnTo>
                  <a:lnTo>
                    <a:pt x="182455" y="2557"/>
                  </a:lnTo>
                  <a:lnTo>
                    <a:pt x="182455" y="2557"/>
                  </a:lnTo>
                  <a:lnTo>
                    <a:pt x="182557" y="2659"/>
                  </a:lnTo>
                  <a:lnTo>
                    <a:pt x="182148" y="2557"/>
                  </a:lnTo>
                  <a:close/>
                  <a:moveTo>
                    <a:pt x="64739" y="2557"/>
                  </a:moveTo>
                  <a:lnTo>
                    <a:pt x="63614" y="2864"/>
                  </a:lnTo>
                  <a:lnTo>
                    <a:pt x="64023" y="2864"/>
                  </a:lnTo>
                  <a:lnTo>
                    <a:pt x="63716" y="2966"/>
                  </a:lnTo>
                  <a:lnTo>
                    <a:pt x="63716" y="2966"/>
                  </a:lnTo>
                  <a:lnTo>
                    <a:pt x="64432" y="2864"/>
                  </a:lnTo>
                  <a:lnTo>
                    <a:pt x="64125" y="2966"/>
                  </a:lnTo>
                  <a:lnTo>
                    <a:pt x="64534" y="3068"/>
                  </a:lnTo>
                  <a:lnTo>
                    <a:pt x="64125" y="3068"/>
                  </a:lnTo>
                  <a:lnTo>
                    <a:pt x="64330" y="3170"/>
                  </a:lnTo>
                  <a:lnTo>
                    <a:pt x="63511" y="3375"/>
                  </a:lnTo>
                  <a:lnTo>
                    <a:pt x="65352" y="3477"/>
                  </a:lnTo>
                  <a:lnTo>
                    <a:pt x="65352" y="3580"/>
                  </a:lnTo>
                  <a:lnTo>
                    <a:pt x="66068" y="3682"/>
                  </a:lnTo>
                  <a:lnTo>
                    <a:pt x="66273" y="3375"/>
                  </a:lnTo>
                  <a:lnTo>
                    <a:pt x="66580" y="3170"/>
                  </a:lnTo>
                  <a:lnTo>
                    <a:pt x="65966" y="2966"/>
                  </a:lnTo>
                  <a:lnTo>
                    <a:pt x="66068" y="2864"/>
                  </a:lnTo>
                  <a:lnTo>
                    <a:pt x="65148" y="2966"/>
                  </a:lnTo>
                  <a:lnTo>
                    <a:pt x="65148" y="2864"/>
                  </a:lnTo>
                  <a:lnTo>
                    <a:pt x="64739" y="2557"/>
                  </a:lnTo>
                  <a:close/>
                  <a:moveTo>
                    <a:pt x="67705" y="2966"/>
                  </a:moveTo>
                  <a:lnTo>
                    <a:pt x="67295" y="3273"/>
                  </a:lnTo>
                  <a:lnTo>
                    <a:pt x="67705" y="3477"/>
                  </a:lnTo>
                  <a:lnTo>
                    <a:pt x="67398" y="3682"/>
                  </a:lnTo>
                  <a:lnTo>
                    <a:pt x="69136" y="3273"/>
                  </a:lnTo>
                  <a:lnTo>
                    <a:pt x="67705" y="2966"/>
                  </a:lnTo>
                  <a:close/>
                  <a:moveTo>
                    <a:pt x="136943" y="3170"/>
                  </a:moveTo>
                  <a:lnTo>
                    <a:pt x="135818" y="3273"/>
                  </a:lnTo>
                  <a:lnTo>
                    <a:pt x="136841" y="3682"/>
                  </a:lnTo>
                  <a:lnTo>
                    <a:pt x="136432" y="3886"/>
                  </a:lnTo>
                  <a:lnTo>
                    <a:pt x="137557" y="3886"/>
                  </a:lnTo>
                  <a:lnTo>
                    <a:pt x="137352" y="3989"/>
                  </a:lnTo>
                  <a:lnTo>
                    <a:pt x="137761" y="4091"/>
                  </a:lnTo>
                  <a:lnTo>
                    <a:pt x="138784" y="3784"/>
                  </a:lnTo>
                  <a:lnTo>
                    <a:pt x="137659" y="3477"/>
                  </a:lnTo>
                  <a:lnTo>
                    <a:pt x="137761" y="3477"/>
                  </a:lnTo>
                  <a:lnTo>
                    <a:pt x="137148" y="3375"/>
                  </a:lnTo>
                  <a:lnTo>
                    <a:pt x="136943" y="3170"/>
                  </a:lnTo>
                  <a:close/>
                  <a:moveTo>
                    <a:pt x="131114" y="2250"/>
                  </a:moveTo>
                  <a:lnTo>
                    <a:pt x="131114" y="2352"/>
                  </a:lnTo>
                  <a:lnTo>
                    <a:pt x="130295" y="2352"/>
                  </a:lnTo>
                  <a:lnTo>
                    <a:pt x="131318" y="2864"/>
                  </a:lnTo>
                  <a:lnTo>
                    <a:pt x="130705" y="2864"/>
                  </a:lnTo>
                  <a:lnTo>
                    <a:pt x="131625" y="3375"/>
                  </a:lnTo>
                  <a:lnTo>
                    <a:pt x="132648" y="3273"/>
                  </a:lnTo>
                  <a:lnTo>
                    <a:pt x="132545" y="3170"/>
                  </a:lnTo>
                  <a:lnTo>
                    <a:pt x="132545" y="3068"/>
                  </a:lnTo>
                  <a:lnTo>
                    <a:pt x="132955" y="3068"/>
                  </a:lnTo>
                  <a:lnTo>
                    <a:pt x="133261" y="3273"/>
                  </a:lnTo>
                  <a:lnTo>
                    <a:pt x="133875" y="3068"/>
                  </a:lnTo>
                  <a:lnTo>
                    <a:pt x="133670" y="3170"/>
                  </a:lnTo>
                  <a:lnTo>
                    <a:pt x="134080" y="3273"/>
                  </a:lnTo>
                  <a:lnTo>
                    <a:pt x="132443" y="3580"/>
                  </a:lnTo>
                  <a:lnTo>
                    <a:pt x="132750" y="3784"/>
                  </a:lnTo>
                  <a:lnTo>
                    <a:pt x="134080" y="3784"/>
                  </a:lnTo>
                  <a:lnTo>
                    <a:pt x="132545" y="4091"/>
                  </a:lnTo>
                  <a:lnTo>
                    <a:pt x="134284" y="4602"/>
                  </a:lnTo>
                  <a:lnTo>
                    <a:pt x="134386" y="4398"/>
                  </a:lnTo>
                  <a:lnTo>
                    <a:pt x="134284" y="4295"/>
                  </a:lnTo>
                  <a:lnTo>
                    <a:pt x="134898" y="3886"/>
                  </a:lnTo>
                  <a:lnTo>
                    <a:pt x="134898" y="3580"/>
                  </a:lnTo>
                  <a:lnTo>
                    <a:pt x="135205" y="3477"/>
                  </a:lnTo>
                  <a:lnTo>
                    <a:pt x="135511" y="3170"/>
                  </a:lnTo>
                  <a:lnTo>
                    <a:pt x="136432" y="3068"/>
                  </a:lnTo>
                  <a:lnTo>
                    <a:pt x="135920" y="2864"/>
                  </a:lnTo>
                  <a:lnTo>
                    <a:pt x="136023" y="2761"/>
                  </a:lnTo>
                  <a:lnTo>
                    <a:pt x="134795" y="2659"/>
                  </a:lnTo>
                  <a:lnTo>
                    <a:pt x="134795" y="2455"/>
                  </a:lnTo>
                  <a:lnTo>
                    <a:pt x="134182" y="2557"/>
                  </a:lnTo>
                  <a:lnTo>
                    <a:pt x="134386" y="2352"/>
                  </a:lnTo>
                  <a:lnTo>
                    <a:pt x="133261" y="2250"/>
                  </a:lnTo>
                  <a:lnTo>
                    <a:pt x="133261" y="2250"/>
                  </a:lnTo>
                  <a:lnTo>
                    <a:pt x="133568" y="2864"/>
                  </a:lnTo>
                  <a:lnTo>
                    <a:pt x="133568" y="2864"/>
                  </a:lnTo>
                  <a:lnTo>
                    <a:pt x="132750" y="2455"/>
                  </a:lnTo>
                  <a:lnTo>
                    <a:pt x="131318" y="2455"/>
                  </a:lnTo>
                  <a:lnTo>
                    <a:pt x="131932" y="2250"/>
                  </a:lnTo>
                  <a:close/>
                  <a:moveTo>
                    <a:pt x="66682" y="4398"/>
                  </a:moveTo>
                  <a:lnTo>
                    <a:pt x="66784" y="4500"/>
                  </a:lnTo>
                  <a:lnTo>
                    <a:pt x="66477" y="4500"/>
                  </a:lnTo>
                  <a:lnTo>
                    <a:pt x="67091" y="4705"/>
                  </a:lnTo>
                  <a:lnTo>
                    <a:pt x="66784" y="4705"/>
                  </a:lnTo>
                  <a:lnTo>
                    <a:pt x="68232" y="4795"/>
                  </a:lnTo>
                  <a:lnTo>
                    <a:pt x="68232" y="4795"/>
                  </a:lnTo>
                  <a:lnTo>
                    <a:pt x="68625" y="4500"/>
                  </a:lnTo>
                  <a:lnTo>
                    <a:pt x="66682" y="4398"/>
                  </a:lnTo>
                  <a:close/>
                  <a:moveTo>
                    <a:pt x="68232" y="4795"/>
                  </a:moveTo>
                  <a:lnTo>
                    <a:pt x="68216" y="4807"/>
                  </a:lnTo>
                  <a:lnTo>
                    <a:pt x="68324" y="4801"/>
                  </a:lnTo>
                  <a:lnTo>
                    <a:pt x="68324" y="4801"/>
                  </a:lnTo>
                  <a:lnTo>
                    <a:pt x="68232" y="4795"/>
                  </a:lnTo>
                  <a:close/>
                  <a:moveTo>
                    <a:pt x="71489" y="4500"/>
                  </a:moveTo>
                  <a:lnTo>
                    <a:pt x="70568" y="4705"/>
                  </a:lnTo>
                  <a:lnTo>
                    <a:pt x="71080" y="4807"/>
                  </a:lnTo>
                  <a:lnTo>
                    <a:pt x="71489" y="4500"/>
                  </a:lnTo>
                  <a:close/>
                  <a:moveTo>
                    <a:pt x="81102" y="205"/>
                  </a:moveTo>
                  <a:lnTo>
                    <a:pt x="81614" y="409"/>
                  </a:lnTo>
                  <a:lnTo>
                    <a:pt x="80386" y="307"/>
                  </a:lnTo>
                  <a:lnTo>
                    <a:pt x="80489" y="409"/>
                  </a:lnTo>
                  <a:lnTo>
                    <a:pt x="79773" y="409"/>
                  </a:lnTo>
                  <a:lnTo>
                    <a:pt x="79977" y="511"/>
                  </a:lnTo>
                  <a:lnTo>
                    <a:pt x="79466" y="511"/>
                  </a:lnTo>
                  <a:lnTo>
                    <a:pt x="80693" y="920"/>
                  </a:lnTo>
                  <a:lnTo>
                    <a:pt x="80693" y="920"/>
                  </a:lnTo>
                  <a:lnTo>
                    <a:pt x="79159" y="716"/>
                  </a:lnTo>
                  <a:lnTo>
                    <a:pt x="77011" y="716"/>
                  </a:lnTo>
                  <a:lnTo>
                    <a:pt x="77727" y="818"/>
                  </a:lnTo>
                  <a:lnTo>
                    <a:pt x="73841" y="1023"/>
                  </a:lnTo>
                  <a:lnTo>
                    <a:pt x="73943" y="1125"/>
                  </a:lnTo>
                  <a:lnTo>
                    <a:pt x="74864" y="1023"/>
                  </a:lnTo>
                  <a:lnTo>
                    <a:pt x="74864" y="1023"/>
                  </a:lnTo>
                  <a:lnTo>
                    <a:pt x="74250" y="1125"/>
                  </a:lnTo>
                  <a:lnTo>
                    <a:pt x="75989" y="1125"/>
                  </a:lnTo>
                  <a:lnTo>
                    <a:pt x="74659" y="1227"/>
                  </a:lnTo>
                  <a:lnTo>
                    <a:pt x="74830" y="1313"/>
                  </a:lnTo>
                  <a:lnTo>
                    <a:pt x="74830" y="1313"/>
                  </a:lnTo>
                  <a:lnTo>
                    <a:pt x="77216" y="1227"/>
                  </a:lnTo>
                  <a:lnTo>
                    <a:pt x="74557" y="1534"/>
                  </a:lnTo>
                  <a:lnTo>
                    <a:pt x="74557" y="1534"/>
                  </a:lnTo>
                  <a:lnTo>
                    <a:pt x="78034" y="1330"/>
                  </a:lnTo>
                  <a:lnTo>
                    <a:pt x="75784" y="1739"/>
                  </a:lnTo>
                  <a:lnTo>
                    <a:pt x="75784" y="1739"/>
                  </a:lnTo>
                  <a:lnTo>
                    <a:pt x="78341" y="1636"/>
                  </a:lnTo>
                  <a:lnTo>
                    <a:pt x="78341" y="1636"/>
                  </a:lnTo>
                  <a:lnTo>
                    <a:pt x="77830" y="1739"/>
                  </a:lnTo>
                  <a:lnTo>
                    <a:pt x="81818" y="1125"/>
                  </a:lnTo>
                  <a:lnTo>
                    <a:pt x="81818" y="1125"/>
                  </a:lnTo>
                  <a:lnTo>
                    <a:pt x="80386" y="1534"/>
                  </a:lnTo>
                  <a:lnTo>
                    <a:pt x="81409" y="1534"/>
                  </a:lnTo>
                  <a:lnTo>
                    <a:pt x="77523" y="1943"/>
                  </a:lnTo>
                  <a:lnTo>
                    <a:pt x="78648" y="2352"/>
                  </a:lnTo>
                  <a:lnTo>
                    <a:pt x="78648" y="2352"/>
                  </a:lnTo>
                  <a:lnTo>
                    <a:pt x="75375" y="2045"/>
                  </a:lnTo>
                  <a:lnTo>
                    <a:pt x="75375" y="2352"/>
                  </a:lnTo>
                  <a:lnTo>
                    <a:pt x="76193" y="2761"/>
                  </a:lnTo>
                  <a:lnTo>
                    <a:pt x="75682" y="2761"/>
                  </a:lnTo>
                  <a:lnTo>
                    <a:pt x="77216" y="2864"/>
                  </a:lnTo>
                  <a:lnTo>
                    <a:pt x="75022" y="3201"/>
                  </a:lnTo>
                  <a:lnTo>
                    <a:pt x="75022" y="3201"/>
                  </a:lnTo>
                  <a:lnTo>
                    <a:pt x="74761" y="3375"/>
                  </a:lnTo>
                  <a:lnTo>
                    <a:pt x="75170" y="3477"/>
                  </a:lnTo>
                  <a:lnTo>
                    <a:pt x="74148" y="3682"/>
                  </a:lnTo>
                  <a:lnTo>
                    <a:pt x="74045" y="3886"/>
                  </a:lnTo>
                  <a:lnTo>
                    <a:pt x="75989" y="3580"/>
                  </a:lnTo>
                  <a:lnTo>
                    <a:pt x="73739" y="3989"/>
                  </a:lnTo>
                  <a:lnTo>
                    <a:pt x="73432" y="3682"/>
                  </a:lnTo>
                  <a:lnTo>
                    <a:pt x="72716" y="3682"/>
                  </a:lnTo>
                  <a:lnTo>
                    <a:pt x="72818" y="4193"/>
                  </a:lnTo>
                  <a:lnTo>
                    <a:pt x="71489" y="4500"/>
                  </a:lnTo>
                  <a:lnTo>
                    <a:pt x="71489" y="4500"/>
                  </a:lnTo>
                  <a:lnTo>
                    <a:pt x="71489" y="4500"/>
                  </a:lnTo>
                  <a:lnTo>
                    <a:pt x="71284" y="4807"/>
                  </a:lnTo>
                  <a:lnTo>
                    <a:pt x="71898" y="4705"/>
                  </a:lnTo>
                  <a:lnTo>
                    <a:pt x="71898" y="4807"/>
                  </a:lnTo>
                  <a:lnTo>
                    <a:pt x="75784" y="4807"/>
                  </a:lnTo>
                  <a:lnTo>
                    <a:pt x="75477" y="5011"/>
                  </a:lnTo>
                  <a:lnTo>
                    <a:pt x="75477" y="5011"/>
                  </a:lnTo>
                  <a:lnTo>
                    <a:pt x="77318" y="4705"/>
                  </a:lnTo>
                  <a:lnTo>
                    <a:pt x="77727" y="4398"/>
                  </a:lnTo>
                  <a:lnTo>
                    <a:pt x="77114" y="4398"/>
                  </a:lnTo>
                  <a:lnTo>
                    <a:pt x="77216" y="4193"/>
                  </a:lnTo>
                  <a:lnTo>
                    <a:pt x="75682" y="4091"/>
                  </a:lnTo>
                  <a:lnTo>
                    <a:pt x="76193" y="4091"/>
                  </a:lnTo>
                  <a:lnTo>
                    <a:pt x="76091" y="3989"/>
                  </a:lnTo>
                  <a:lnTo>
                    <a:pt x="78341" y="3886"/>
                  </a:lnTo>
                  <a:lnTo>
                    <a:pt x="78545" y="3580"/>
                  </a:lnTo>
                  <a:lnTo>
                    <a:pt x="80489" y="3375"/>
                  </a:lnTo>
                  <a:lnTo>
                    <a:pt x="79977" y="3170"/>
                  </a:lnTo>
                  <a:lnTo>
                    <a:pt x="81205" y="3068"/>
                  </a:lnTo>
                  <a:lnTo>
                    <a:pt x="79159" y="2761"/>
                  </a:lnTo>
                  <a:lnTo>
                    <a:pt x="81614" y="2659"/>
                  </a:lnTo>
                  <a:lnTo>
                    <a:pt x="80386" y="2455"/>
                  </a:lnTo>
                  <a:lnTo>
                    <a:pt x="82534" y="2352"/>
                  </a:lnTo>
                  <a:lnTo>
                    <a:pt x="81920" y="2250"/>
                  </a:lnTo>
                  <a:lnTo>
                    <a:pt x="83966" y="2250"/>
                  </a:lnTo>
                  <a:lnTo>
                    <a:pt x="83864" y="2148"/>
                  </a:lnTo>
                  <a:lnTo>
                    <a:pt x="84375" y="2045"/>
                  </a:lnTo>
                  <a:lnTo>
                    <a:pt x="83557" y="2045"/>
                  </a:lnTo>
                  <a:lnTo>
                    <a:pt x="84682" y="1943"/>
                  </a:lnTo>
                  <a:lnTo>
                    <a:pt x="84580" y="1739"/>
                  </a:lnTo>
                  <a:lnTo>
                    <a:pt x="88466" y="1125"/>
                  </a:lnTo>
                  <a:lnTo>
                    <a:pt x="86216" y="1330"/>
                  </a:lnTo>
                  <a:lnTo>
                    <a:pt x="90920" y="614"/>
                  </a:lnTo>
                  <a:lnTo>
                    <a:pt x="89898" y="511"/>
                  </a:lnTo>
                  <a:lnTo>
                    <a:pt x="90000" y="409"/>
                  </a:lnTo>
                  <a:lnTo>
                    <a:pt x="89795" y="409"/>
                  </a:lnTo>
                  <a:lnTo>
                    <a:pt x="89898" y="307"/>
                  </a:lnTo>
                  <a:lnTo>
                    <a:pt x="89898" y="307"/>
                  </a:lnTo>
                  <a:lnTo>
                    <a:pt x="87136" y="409"/>
                  </a:lnTo>
                  <a:lnTo>
                    <a:pt x="88466" y="205"/>
                  </a:lnTo>
                  <a:lnTo>
                    <a:pt x="84682" y="205"/>
                  </a:lnTo>
                  <a:lnTo>
                    <a:pt x="84989" y="409"/>
                  </a:lnTo>
                  <a:lnTo>
                    <a:pt x="82739" y="205"/>
                  </a:lnTo>
                  <a:lnTo>
                    <a:pt x="83352" y="409"/>
                  </a:lnTo>
                  <a:lnTo>
                    <a:pt x="83352" y="409"/>
                  </a:lnTo>
                  <a:lnTo>
                    <a:pt x="81102" y="205"/>
                  </a:lnTo>
                  <a:close/>
                  <a:moveTo>
                    <a:pt x="62898" y="4909"/>
                  </a:moveTo>
                  <a:lnTo>
                    <a:pt x="63205" y="5011"/>
                  </a:lnTo>
                  <a:lnTo>
                    <a:pt x="63205" y="4909"/>
                  </a:lnTo>
                  <a:close/>
                  <a:moveTo>
                    <a:pt x="55227" y="3989"/>
                  </a:moveTo>
                  <a:lnTo>
                    <a:pt x="55330" y="4091"/>
                  </a:lnTo>
                  <a:lnTo>
                    <a:pt x="50318" y="5011"/>
                  </a:lnTo>
                  <a:lnTo>
                    <a:pt x="50523" y="5011"/>
                  </a:lnTo>
                  <a:lnTo>
                    <a:pt x="50318" y="5216"/>
                  </a:lnTo>
                  <a:lnTo>
                    <a:pt x="50318" y="5216"/>
                  </a:lnTo>
                  <a:lnTo>
                    <a:pt x="51545" y="5011"/>
                  </a:lnTo>
                  <a:lnTo>
                    <a:pt x="51443" y="5318"/>
                  </a:lnTo>
                  <a:lnTo>
                    <a:pt x="54102" y="4500"/>
                  </a:lnTo>
                  <a:lnTo>
                    <a:pt x="53591" y="4909"/>
                  </a:lnTo>
                  <a:lnTo>
                    <a:pt x="53591" y="4909"/>
                  </a:lnTo>
                  <a:lnTo>
                    <a:pt x="56045" y="4091"/>
                  </a:lnTo>
                  <a:lnTo>
                    <a:pt x="55227" y="3989"/>
                  </a:lnTo>
                  <a:close/>
                  <a:moveTo>
                    <a:pt x="65761" y="4705"/>
                  </a:moveTo>
                  <a:lnTo>
                    <a:pt x="63818" y="4807"/>
                  </a:lnTo>
                  <a:lnTo>
                    <a:pt x="64227" y="4909"/>
                  </a:lnTo>
                  <a:lnTo>
                    <a:pt x="63920" y="4909"/>
                  </a:lnTo>
                  <a:lnTo>
                    <a:pt x="64330" y="5011"/>
                  </a:lnTo>
                  <a:lnTo>
                    <a:pt x="64023" y="5216"/>
                  </a:lnTo>
                  <a:lnTo>
                    <a:pt x="63205" y="5011"/>
                  </a:lnTo>
                  <a:lnTo>
                    <a:pt x="62898" y="5114"/>
                  </a:lnTo>
                  <a:lnTo>
                    <a:pt x="63000" y="5114"/>
                  </a:lnTo>
                  <a:lnTo>
                    <a:pt x="63102" y="5318"/>
                  </a:lnTo>
                  <a:lnTo>
                    <a:pt x="63102" y="5318"/>
                  </a:lnTo>
                  <a:lnTo>
                    <a:pt x="62489" y="5216"/>
                  </a:lnTo>
                  <a:lnTo>
                    <a:pt x="61875" y="5420"/>
                  </a:lnTo>
                  <a:lnTo>
                    <a:pt x="64125" y="5420"/>
                  </a:lnTo>
                  <a:lnTo>
                    <a:pt x="62898" y="5625"/>
                  </a:lnTo>
                  <a:lnTo>
                    <a:pt x="63102" y="5727"/>
                  </a:lnTo>
                  <a:lnTo>
                    <a:pt x="63000" y="5932"/>
                  </a:lnTo>
                  <a:lnTo>
                    <a:pt x="63000" y="5932"/>
                  </a:lnTo>
                  <a:lnTo>
                    <a:pt x="65148" y="5420"/>
                  </a:lnTo>
                  <a:lnTo>
                    <a:pt x="64943" y="5318"/>
                  </a:lnTo>
                  <a:lnTo>
                    <a:pt x="65761" y="4705"/>
                  </a:lnTo>
                  <a:close/>
                  <a:moveTo>
                    <a:pt x="209148" y="5011"/>
                  </a:moveTo>
                  <a:lnTo>
                    <a:pt x="209455" y="5420"/>
                  </a:lnTo>
                  <a:lnTo>
                    <a:pt x="207102" y="5216"/>
                  </a:lnTo>
                  <a:lnTo>
                    <a:pt x="207409" y="5318"/>
                  </a:lnTo>
                  <a:lnTo>
                    <a:pt x="207205" y="5318"/>
                  </a:lnTo>
                  <a:lnTo>
                    <a:pt x="207716" y="5625"/>
                  </a:lnTo>
                  <a:lnTo>
                    <a:pt x="207511" y="5625"/>
                  </a:lnTo>
                  <a:lnTo>
                    <a:pt x="211705" y="5932"/>
                  </a:lnTo>
                  <a:lnTo>
                    <a:pt x="210170" y="5420"/>
                  </a:lnTo>
                  <a:lnTo>
                    <a:pt x="210170" y="5420"/>
                  </a:lnTo>
                  <a:lnTo>
                    <a:pt x="212420" y="5727"/>
                  </a:lnTo>
                  <a:lnTo>
                    <a:pt x="212318" y="5523"/>
                  </a:lnTo>
                  <a:lnTo>
                    <a:pt x="209148" y="5011"/>
                  </a:lnTo>
                  <a:close/>
                  <a:moveTo>
                    <a:pt x="65148" y="5932"/>
                  </a:moveTo>
                  <a:lnTo>
                    <a:pt x="65966" y="6239"/>
                  </a:lnTo>
                  <a:lnTo>
                    <a:pt x="66989" y="5932"/>
                  </a:lnTo>
                  <a:close/>
                  <a:moveTo>
                    <a:pt x="59523" y="4500"/>
                  </a:moveTo>
                  <a:lnTo>
                    <a:pt x="58193" y="4807"/>
                  </a:lnTo>
                  <a:lnTo>
                    <a:pt x="58295" y="5011"/>
                  </a:lnTo>
                  <a:lnTo>
                    <a:pt x="57886" y="5216"/>
                  </a:lnTo>
                  <a:lnTo>
                    <a:pt x="58193" y="5420"/>
                  </a:lnTo>
                  <a:lnTo>
                    <a:pt x="56455" y="5216"/>
                  </a:lnTo>
                  <a:lnTo>
                    <a:pt x="56659" y="5216"/>
                  </a:lnTo>
                  <a:lnTo>
                    <a:pt x="55739" y="4909"/>
                  </a:lnTo>
                  <a:lnTo>
                    <a:pt x="55841" y="4807"/>
                  </a:lnTo>
                  <a:lnTo>
                    <a:pt x="54716" y="4909"/>
                  </a:lnTo>
                  <a:lnTo>
                    <a:pt x="55227" y="5011"/>
                  </a:lnTo>
                  <a:lnTo>
                    <a:pt x="53795" y="5216"/>
                  </a:lnTo>
                  <a:lnTo>
                    <a:pt x="54818" y="5216"/>
                  </a:lnTo>
                  <a:lnTo>
                    <a:pt x="53182" y="5420"/>
                  </a:lnTo>
                  <a:lnTo>
                    <a:pt x="54511" y="5318"/>
                  </a:lnTo>
                  <a:lnTo>
                    <a:pt x="52466" y="5727"/>
                  </a:lnTo>
                  <a:lnTo>
                    <a:pt x="53386" y="5932"/>
                  </a:lnTo>
                  <a:lnTo>
                    <a:pt x="53693" y="5830"/>
                  </a:lnTo>
                  <a:lnTo>
                    <a:pt x="53898" y="5932"/>
                  </a:lnTo>
                  <a:lnTo>
                    <a:pt x="54307" y="5830"/>
                  </a:lnTo>
                  <a:lnTo>
                    <a:pt x="54409" y="5727"/>
                  </a:lnTo>
                  <a:lnTo>
                    <a:pt x="55227" y="5625"/>
                  </a:lnTo>
                  <a:lnTo>
                    <a:pt x="54614" y="5830"/>
                  </a:lnTo>
                  <a:lnTo>
                    <a:pt x="56455" y="5727"/>
                  </a:lnTo>
                  <a:lnTo>
                    <a:pt x="56455" y="5727"/>
                  </a:lnTo>
                  <a:lnTo>
                    <a:pt x="54102" y="6136"/>
                  </a:lnTo>
                  <a:lnTo>
                    <a:pt x="54102" y="6341"/>
                  </a:lnTo>
                  <a:lnTo>
                    <a:pt x="57784" y="5932"/>
                  </a:lnTo>
                  <a:lnTo>
                    <a:pt x="57682" y="5932"/>
                  </a:lnTo>
                  <a:lnTo>
                    <a:pt x="59625" y="5727"/>
                  </a:lnTo>
                  <a:lnTo>
                    <a:pt x="60443" y="5114"/>
                  </a:lnTo>
                  <a:lnTo>
                    <a:pt x="58909" y="5318"/>
                  </a:lnTo>
                  <a:lnTo>
                    <a:pt x="59216" y="5114"/>
                  </a:lnTo>
                  <a:lnTo>
                    <a:pt x="58909" y="5114"/>
                  </a:lnTo>
                  <a:lnTo>
                    <a:pt x="59523" y="4500"/>
                  </a:lnTo>
                  <a:close/>
                  <a:moveTo>
                    <a:pt x="70057" y="4705"/>
                  </a:moveTo>
                  <a:lnTo>
                    <a:pt x="68324" y="4801"/>
                  </a:lnTo>
                  <a:lnTo>
                    <a:pt x="68324" y="4801"/>
                  </a:lnTo>
                  <a:lnTo>
                    <a:pt x="68420" y="4807"/>
                  </a:lnTo>
                  <a:lnTo>
                    <a:pt x="68420" y="5318"/>
                  </a:lnTo>
                  <a:lnTo>
                    <a:pt x="67909" y="5625"/>
                  </a:lnTo>
                  <a:lnTo>
                    <a:pt x="67807" y="5830"/>
                  </a:lnTo>
                  <a:lnTo>
                    <a:pt x="68420" y="6034"/>
                  </a:lnTo>
                  <a:lnTo>
                    <a:pt x="68318" y="6136"/>
                  </a:lnTo>
                  <a:lnTo>
                    <a:pt x="69955" y="6136"/>
                  </a:lnTo>
                  <a:lnTo>
                    <a:pt x="69648" y="6341"/>
                  </a:lnTo>
                  <a:lnTo>
                    <a:pt x="75580" y="6034"/>
                  </a:lnTo>
                  <a:lnTo>
                    <a:pt x="75068" y="5932"/>
                  </a:lnTo>
                  <a:lnTo>
                    <a:pt x="75580" y="5523"/>
                  </a:lnTo>
                  <a:lnTo>
                    <a:pt x="74966" y="5420"/>
                  </a:lnTo>
                  <a:lnTo>
                    <a:pt x="75068" y="5318"/>
                  </a:lnTo>
                  <a:lnTo>
                    <a:pt x="71898" y="5523"/>
                  </a:lnTo>
                  <a:lnTo>
                    <a:pt x="72000" y="5625"/>
                  </a:lnTo>
                  <a:lnTo>
                    <a:pt x="70261" y="5420"/>
                  </a:lnTo>
                  <a:lnTo>
                    <a:pt x="70159" y="5523"/>
                  </a:lnTo>
                  <a:lnTo>
                    <a:pt x="69750" y="5523"/>
                  </a:lnTo>
                  <a:lnTo>
                    <a:pt x="70261" y="5318"/>
                  </a:lnTo>
                  <a:lnTo>
                    <a:pt x="69239" y="4909"/>
                  </a:lnTo>
                  <a:lnTo>
                    <a:pt x="70568" y="4909"/>
                  </a:lnTo>
                  <a:lnTo>
                    <a:pt x="69443" y="4807"/>
                  </a:lnTo>
                  <a:lnTo>
                    <a:pt x="70057" y="4705"/>
                  </a:lnTo>
                  <a:close/>
                  <a:moveTo>
                    <a:pt x="165273" y="4705"/>
                  </a:moveTo>
                  <a:lnTo>
                    <a:pt x="160773" y="4909"/>
                  </a:lnTo>
                  <a:lnTo>
                    <a:pt x="160875" y="5011"/>
                  </a:lnTo>
                  <a:lnTo>
                    <a:pt x="160364" y="5114"/>
                  </a:lnTo>
                  <a:lnTo>
                    <a:pt x="159341" y="5420"/>
                  </a:lnTo>
                  <a:lnTo>
                    <a:pt x="158727" y="5625"/>
                  </a:lnTo>
                  <a:lnTo>
                    <a:pt x="158830" y="5727"/>
                  </a:lnTo>
                  <a:lnTo>
                    <a:pt x="158216" y="5830"/>
                  </a:lnTo>
                  <a:lnTo>
                    <a:pt x="158727" y="5932"/>
                  </a:lnTo>
                  <a:lnTo>
                    <a:pt x="158318" y="6239"/>
                  </a:lnTo>
                  <a:lnTo>
                    <a:pt x="158727" y="6341"/>
                  </a:lnTo>
                  <a:lnTo>
                    <a:pt x="158318" y="6443"/>
                  </a:lnTo>
                  <a:lnTo>
                    <a:pt x="158114" y="6648"/>
                  </a:lnTo>
                  <a:lnTo>
                    <a:pt x="157602" y="6955"/>
                  </a:lnTo>
                  <a:lnTo>
                    <a:pt x="158114" y="7261"/>
                  </a:lnTo>
                  <a:lnTo>
                    <a:pt x="160057" y="7057"/>
                  </a:lnTo>
                  <a:lnTo>
                    <a:pt x="159750" y="6852"/>
                  </a:lnTo>
                  <a:lnTo>
                    <a:pt x="160159" y="6341"/>
                  </a:lnTo>
                  <a:lnTo>
                    <a:pt x="160875" y="6239"/>
                  </a:lnTo>
                  <a:lnTo>
                    <a:pt x="160875" y="6136"/>
                  </a:lnTo>
                  <a:lnTo>
                    <a:pt x="161182" y="6034"/>
                  </a:lnTo>
                  <a:lnTo>
                    <a:pt x="160977" y="5932"/>
                  </a:lnTo>
                  <a:lnTo>
                    <a:pt x="165273" y="4705"/>
                  </a:lnTo>
                  <a:close/>
                  <a:moveTo>
                    <a:pt x="212114" y="6852"/>
                  </a:moveTo>
                  <a:lnTo>
                    <a:pt x="211500" y="7261"/>
                  </a:lnTo>
                  <a:lnTo>
                    <a:pt x="214057" y="7364"/>
                  </a:lnTo>
                  <a:lnTo>
                    <a:pt x="212114" y="6852"/>
                  </a:lnTo>
                  <a:close/>
                  <a:moveTo>
                    <a:pt x="177955" y="7159"/>
                  </a:moveTo>
                  <a:lnTo>
                    <a:pt x="178568" y="7466"/>
                  </a:lnTo>
                  <a:lnTo>
                    <a:pt x="177852" y="7261"/>
                  </a:lnTo>
                  <a:lnTo>
                    <a:pt x="177955" y="7159"/>
                  </a:lnTo>
                  <a:close/>
                  <a:moveTo>
                    <a:pt x="58602" y="6955"/>
                  </a:moveTo>
                  <a:lnTo>
                    <a:pt x="57375" y="7159"/>
                  </a:lnTo>
                  <a:lnTo>
                    <a:pt x="57784" y="7568"/>
                  </a:lnTo>
                  <a:lnTo>
                    <a:pt x="58602" y="7261"/>
                  </a:lnTo>
                  <a:lnTo>
                    <a:pt x="58602" y="6955"/>
                  </a:lnTo>
                  <a:close/>
                  <a:moveTo>
                    <a:pt x="108307" y="7568"/>
                  </a:moveTo>
                  <a:lnTo>
                    <a:pt x="108211" y="7587"/>
                  </a:lnTo>
                  <a:lnTo>
                    <a:pt x="108211" y="7587"/>
                  </a:lnTo>
                  <a:lnTo>
                    <a:pt x="108381" y="7603"/>
                  </a:lnTo>
                  <a:lnTo>
                    <a:pt x="108381" y="7603"/>
                  </a:lnTo>
                  <a:lnTo>
                    <a:pt x="108307" y="7568"/>
                  </a:lnTo>
                  <a:close/>
                  <a:moveTo>
                    <a:pt x="73636" y="7159"/>
                  </a:moveTo>
                  <a:lnTo>
                    <a:pt x="74659" y="7670"/>
                  </a:lnTo>
                  <a:lnTo>
                    <a:pt x="76193" y="7670"/>
                  </a:lnTo>
                  <a:lnTo>
                    <a:pt x="76193" y="7466"/>
                  </a:lnTo>
                  <a:lnTo>
                    <a:pt x="75989" y="7261"/>
                  </a:lnTo>
                  <a:lnTo>
                    <a:pt x="73636" y="7159"/>
                  </a:lnTo>
                  <a:close/>
                  <a:moveTo>
                    <a:pt x="108381" y="7603"/>
                  </a:moveTo>
                  <a:lnTo>
                    <a:pt x="109841" y="8284"/>
                  </a:lnTo>
                  <a:lnTo>
                    <a:pt x="110250" y="7773"/>
                  </a:lnTo>
                  <a:lnTo>
                    <a:pt x="108381" y="7603"/>
                  </a:lnTo>
                  <a:close/>
                  <a:moveTo>
                    <a:pt x="68011" y="6852"/>
                  </a:moveTo>
                  <a:lnTo>
                    <a:pt x="64227" y="7364"/>
                  </a:lnTo>
                  <a:lnTo>
                    <a:pt x="63511" y="8386"/>
                  </a:lnTo>
                  <a:lnTo>
                    <a:pt x="63511" y="8386"/>
                  </a:lnTo>
                  <a:lnTo>
                    <a:pt x="64534" y="8182"/>
                  </a:lnTo>
                  <a:lnTo>
                    <a:pt x="64739" y="7773"/>
                  </a:lnTo>
                  <a:lnTo>
                    <a:pt x="65352" y="7773"/>
                  </a:lnTo>
                  <a:lnTo>
                    <a:pt x="68011" y="6852"/>
                  </a:lnTo>
                  <a:close/>
                  <a:moveTo>
                    <a:pt x="216716" y="8182"/>
                  </a:moveTo>
                  <a:lnTo>
                    <a:pt x="217227" y="8489"/>
                  </a:lnTo>
                  <a:lnTo>
                    <a:pt x="217330" y="8182"/>
                  </a:lnTo>
                  <a:close/>
                  <a:moveTo>
                    <a:pt x="62080" y="6852"/>
                  </a:moveTo>
                  <a:lnTo>
                    <a:pt x="60852" y="7159"/>
                  </a:lnTo>
                  <a:lnTo>
                    <a:pt x="61568" y="7364"/>
                  </a:lnTo>
                  <a:lnTo>
                    <a:pt x="61057" y="7466"/>
                  </a:lnTo>
                  <a:lnTo>
                    <a:pt x="61057" y="7568"/>
                  </a:lnTo>
                  <a:lnTo>
                    <a:pt x="60341" y="7773"/>
                  </a:lnTo>
                  <a:lnTo>
                    <a:pt x="60034" y="7466"/>
                  </a:lnTo>
                  <a:lnTo>
                    <a:pt x="59420" y="7773"/>
                  </a:lnTo>
                  <a:lnTo>
                    <a:pt x="59727" y="8182"/>
                  </a:lnTo>
                  <a:lnTo>
                    <a:pt x="60136" y="8284"/>
                  </a:lnTo>
                  <a:lnTo>
                    <a:pt x="60443" y="8898"/>
                  </a:lnTo>
                  <a:lnTo>
                    <a:pt x="61159" y="8898"/>
                  </a:lnTo>
                  <a:lnTo>
                    <a:pt x="61364" y="8489"/>
                  </a:lnTo>
                  <a:lnTo>
                    <a:pt x="62182" y="8591"/>
                  </a:lnTo>
                  <a:lnTo>
                    <a:pt x="63205" y="7773"/>
                  </a:lnTo>
                  <a:lnTo>
                    <a:pt x="62795" y="7875"/>
                  </a:lnTo>
                  <a:lnTo>
                    <a:pt x="62795" y="7670"/>
                  </a:lnTo>
                  <a:lnTo>
                    <a:pt x="62898" y="7670"/>
                  </a:lnTo>
                  <a:lnTo>
                    <a:pt x="62182" y="7568"/>
                  </a:lnTo>
                  <a:lnTo>
                    <a:pt x="63409" y="7261"/>
                  </a:lnTo>
                  <a:lnTo>
                    <a:pt x="63205" y="7159"/>
                  </a:lnTo>
                  <a:lnTo>
                    <a:pt x="63511" y="6852"/>
                  </a:lnTo>
                  <a:close/>
                  <a:moveTo>
                    <a:pt x="47250" y="6443"/>
                  </a:moveTo>
                  <a:lnTo>
                    <a:pt x="47148" y="6852"/>
                  </a:lnTo>
                  <a:lnTo>
                    <a:pt x="43977" y="8386"/>
                  </a:lnTo>
                  <a:lnTo>
                    <a:pt x="44284" y="8386"/>
                  </a:lnTo>
                  <a:lnTo>
                    <a:pt x="44898" y="8693"/>
                  </a:lnTo>
                  <a:lnTo>
                    <a:pt x="44795" y="9102"/>
                  </a:lnTo>
                  <a:lnTo>
                    <a:pt x="44795" y="9102"/>
                  </a:lnTo>
                  <a:lnTo>
                    <a:pt x="51955" y="7159"/>
                  </a:lnTo>
                  <a:lnTo>
                    <a:pt x="51545" y="6545"/>
                  </a:lnTo>
                  <a:lnTo>
                    <a:pt x="50318" y="6750"/>
                  </a:lnTo>
                  <a:lnTo>
                    <a:pt x="50420" y="6545"/>
                  </a:lnTo>
                  <a:lnTo>
                    <a:pt x="50011" y="6648"/>
                  </a:lnTo>
                  <a:lnTo>
                    <a:pt x="50216" y="6545"/>
                  </a:lnTo>
                  <a:lnTo>
                    <a:pt x="47250" y="6443"/>
                  </a:lnTo>
                  <a:close/>
                  <a:moveTo>
                    <a:pt x="158625" y="7261"/>
                  </a:moveTo>
                  <a:lnTo>
                    <a:pt x="157602" y="7875"/>
                  </a:lnTo>
                  <a:lnTo>
                    <a:pt x="157500" y="8182"/>
                  </a:lnTo>
                  <a:lnTo>
                    <a:pt x="156989" y="8284"/>
                  </a:lnTo>
                  <a:lnTo>
                    <a:pt x="159034" y="9102"/>
                  </a:lnTo>
                  <a:lnTo>
                    <a:pt x="158830" y="9102"/>
                  </a:lnTo>
                  <a:lnTo>
                    <a:pt x="158830" y="9205"/>
                  </a:lnTo>
                  <a:lnTo>
                    <a:pt x="158727" y="9205"/>
                  </a:lnTo>
                  <a:lnTo>
                    <a:pt x="158727" y="9307"/>
                  </a:lnTo>
                  <a:lnTo>
                    <a:pt x="158625" y="9307"/>
                  </a:lnTo>
                  <a:lnTo>
                    <a:pt x="160773" y="9614"/>
                  </a:lnTo>
                  <a:lnTo>
                    <a:pt x="160773" y="9614"/>
                  </a:lnTo>
                  <a:lnTo>
                    <a:pt x="160568" y="9511"/>
                  </a:lnTo>
                  <a:lnTo>
                    <a:pt x="161489" y="9511"/>
                  </a:lnTo>
                  <a:lnTo>
                    <a:pt x="159239" y="8080"/>
                  </a:lnTo>
                  <a:lnTo>
                    <a:pt x="159341" y="7773"/>
                  </a:lnTo>
                  <a:lnTo>
                    <a:pt x="159545" y="7670"/>
                  </a:lnTo>
                  <a:lnTo>
                    <a:pt x="159545" y="7466"/>
                  </a:lnTo>
                  <a:lnTo>
                    <a:pt x="158625" y="7261"/>
                  </a:lnTo>
                  <a:close/>
                  <a:moveTo>
                    <a:pt x="18920" y="9818"/>
                  </a:moveTo>
                  <a:lnTo>
                    <a:pt x="18511" y="9920"/>
                  </a:lnTo>
                  <a:lnTo>
                    <a:pt x="18511" y="9920"/>
                  </a:lnTo>
                  <a:lnTo>
                    <a:pt x="18637" y="9901"/>
                  </a:lnTo>
                  <a:lnTo>
                    <a:pt x="18637" y="9901"/>
                  </a:lnTo>
                  <a:lnTo>
                    <a:pt x="18920" y="9818"/>
                  </a:lnTo>
                  <a:close/>
                  <a:moveTo>
                    <a:pt x="137352" y="10125"/>
                  </a:moveTo>
                  <a:lnTo>
                    <a:pt x="137352" y="10125"/>
                  </a:lnTo>
                  <a:lnTo>
                    <a:pt x="137352" y="10125"/>
                  </a:lnTo>
                  <a:close/>
                  <a:moveTo>
                    <a:pt x="88977" y="9818"/>
                  </a:moveTo>
                  <a:lnTo>
                    <a:pt x="88670" y="10125"/>
                  </a:lnTo>
                  <a:lnTo>
                    <a:pt x="88466" y="10125"/>
                  </a:lnTo>
                  <a:lnTo>
                    <a:pt x="88364" y="10432"/>
                  </a:lnTo>
                  <a:lnTo>
                    <a:pt x="88875" y="10534"/>
                  </a:lnTo>
                  <a:lnTo>
                    <a:pt x="88568" y="10636"/>
                  </a:lnTo>
                  <a:lnTo>
                    <a:pt x="89489" y="10636"/>
                  </a:lnTo>
                  <a:lnTo>
                    <a:pt x="90000" y="10227"/>
                  </a:lnTo>
                  <a:lnTo>
                    <a:pt x="88977" y="9818"/>
                  </a:lnTo>
                  <a:close/>
                  <a:moveTo>
                    <a:pt x="52466" y="7261"/>
                  </a:moveTo>
                  <a:lnTo>
                    <a:pt x="48170" y="8591"/>
                  </a:lnTo>
                  <a:lnTo>
                    <a:pt x="48784" y="8693"/>
                  </a:lnTo>
                  <a:lnTo>
                    <a:pt x="48375" y="8898"/>
                  </a:lnTo>
                  <a:lnTo>
                    <a:pt x="50216" y="8795"/>
                  </a:lnTo>
                  <a:lnTo>
                    <a:pt x="50216" y="8795"/>
                  </a:lnTo>
                  <a:lnTo>
                    <a:pt x="49705" y="8898"/>
                  </a:lnTo>
                  <a:lnTo>
                    <a:pt x="49807" y="8898"/>
                  </a:lnTo>
                  <a:lnTo>
                    <a:pt x="47761" y="9307"/>
                  </a:lnTo>
                  <a:lnTo>
                    <a:pt x="51545" y="9818"/>
                  </a:lnTo>
                  <a:lnTo>
                    <a:pt x="48273" y="9920"/>
                  </a:lnTo>
                  <a:lnTo>
                    <a:pt x="47557" y="10534"/>
                  </a:lnTo>
                  <a:lnTo>
                    <a:pt x="49193" y="10739"/>
                  </a:lnTo>
                  <a:lnTo>
                    <a:pt x="48989" y="11352"/>
                  </a:lnTo>
                  <a:lnTo>
                    <a:pt x="54102" y="10534"/>
                  </a:lnTo>
                  <a:lnTo>
                    <a:pt x="54102" y="10739"/>
                  </a:lnTo>
                  <a:lnTo>
                    <a:pt x="54818" y="10841"/>
                  </a:lnTo>
                  <a:lnTo>
                    <a:pt x="54614" y="10943"/>
                  </a:lnTo>
                  <a:lnTo>
                    <a:pt x="56148" y="11045"/>
                  </a:lnTo>
                  <a:lnTo>
                    <a:pt x="57170" y="10534"/>
                  </a:lnTo>
                  <a:lnTo>
                    <a:pt x="56250" y="10739"/>
                  </a:lnTo>
                  <a:lnTo>
                    <a:pt x="56455" y="10534"/>
                  </a:lnTo>
                  <a:lnTo>
                    <a:pt x="56352" y="10432"/>
                  </a:lnTo>
                  <a:lnTo>
                    <a:pt x="58295" y="10023"/>
                  </a:lnTo>
                  <a:lnTo>
                    <a:pt x="57989" y="9920"/>
                  </a:lnTo>
                  <a:lnTo>
                    <a:pt x="57989" y="9818"/>
                  </a:lnTo>
                  <a:lnTo>
                    <a:pt x="56864" y="9409"/>
                  </a:lnTo>
                  <a:lnTo>
                    <a:pt x="57682" y="7670"/>
                  </a:lnTo>
                  <a:lnTo>
                    <a:pt x="56455" y="7364"/>
                  </a:lnTo>
                  <a:lnTo>
                    <a:pt x="55739" y="8489"/>
                  </a:lnTo>
                  <a:lnTo>
                    <a:pt x="55023" y="8693"/>
                  </a:lnTo>
                  <a:lnTo>
                    <a:pt x="55023" y="8693"/>
                  </a:lnTo>
                  <a:lnTo>
                    <a:pt x="55227" y="7875"/>
                  </a:lnTo>
                  <a:lnTo>
                    <a:pt x="54614" y="7773"/>
                  </a:lnTo>
                  <a:lnTo>
                    <a:pt x="53591" y="8080"/>
                  </a:lnTo>
                  <a:lnTo>
                    <a:pt x="53693" y="7977"/>
                  </a:lnTo>
                  <a:lnTo>
                    <a:pt x="53182" y="8080"/>
                  </a:lnTo>
                  <a:lnTo>
                    <a:pt x="53182" y="8080"/>
                  </a:lnTo>
                  <a:lnTo>
                    <a:pt x="53898" y="7773"/>
                  </a:lnTo>
                  <a:lnTo>
                    <a:pt x="51750" y="7875"/>
                  </a:lnTo>
                  <a:lnTo>
                    <a:pt x="52466" y="7261"/>
                  </a:lnTo>
                  <a:close/>
                  <a:moveTo>
                    <a:pt x="60341" y="10330"/>
                  </a:moveTo>
                  <a:lnTo>
                    <a:pt x="58602" y="10841"/>
                  </a:lnTo>
                  <a:lnTo>
                    <a:pt x="59114" y="11148"/>
                  </a:lnTo>
                  <a:lnTo>
                    <a:pt x="60136" y="11352"/>
                  </a:lnTo>
                  <a:lnTo>
                    <a:pt x="61159" y="11045"/>
                  </a:lnTo>
                  <a:lnTo>
                    <a:pt x="60239" y="10432"/>
                  </a:lnTo>
                  <a:lnTo>
                    <a:pt x="60341" y="10330"/>
                  </a:lnTo>
                  <a:close/>
                  <a:moveTo>
                    <a:pt x="175193" y="11250"/>
                  </a:moveTo>
                  <a:lnTo>
                    <a:pt x="176114" y="11557"/>
                  </a:lnTo>
                  <a:lnTo>
                    <a:pt x="176114" y="12068"/>
                  </a:lnTo>
                  <a:lnTo>
                    <a:pt x="177136" y="12170"/>
                  </a:lnTo>
                  <a:lnTo>
                    <a:pt x="177136" y="12170"/>
                  </a:lnTo>
                  <a:lnTo>
                    <a:pt x="176011" y="12068"/>
                  </a:lnTo>
                  <a:lnTo>
                    <a:pt x="175193" y="11250"/>
                  </a:lnTo>
                  <a:close/>
                  <a:moveTo>
                    <a:pt x="73023" y="11557"/>
                  </a:moveTo>
                  <a:lnTo>
                    <a:pt x="72307" y="12375"/>
                  </a:lnTo>
                  <a:lnTo>
                    <a:pt x="73432" y="12375"/>
                  </a:lnTo>
                  <a:lnTo>
                    <a:pt x="74148" y="11659"/>
                  </a:lnTo>
                  <a:lnTo>
                    <a:pt x="73023" y="11557"/>
                  </a:lnTo>
                  <a:close/>
                  <a:moveTo>
                    <a:pt x="108409" y="13295"/>
                  </a:moveTo>
                  <a:lnTo>
                    <a:pt x="108716" y="13398"/>
                  </a:lnTo>
                  <a:lnTo>
                    <a:pt x="108818" y="13398"/>
                  </a:lnTo>
                  <a:lnTo>
                    <a:pt x="108409" y="13295"/>
                  </a:lnTo>
                  <a:close/>
                  <a:moveTo>
                    <a:pt x="9205" y="13807"/>
                  </a:moveTo>
                  <a:lnTo>
                    <a:pt x="9102" y="13909"/>
                  </a:lnTo>
                  <a:lnTo>
                    <a:pt x="9205" y="13909"/>
                  </a:lnTo>
                  <a:lnTo>
                    <a:pt x="9205" y="13807"/>
                  </a:lnTo>
                  <a:close/>
                  <a:moveTo>
                    <a:pt x="5420" y="11045"/>
                  </a:moveTo>
                  <a:lnTo>
                    <a:pt x="0" y="14420"/>
                  </a:lnTo>
                  <a:lnTo>
                    <a:pt x="511" y="14318"/>
                  </a:lnTo>
                  <a:lnTo>
                    <a:pt x="1227" y="13909"/>
                  </a:lnTo>
                  <a:lnTo>
                    <a:pt x="1227" y="13705"/>
                  </a:lnTo>
                  <a:lnTo>
                    <a:pt x="1739" y="13398"/>
                  </a:lnTo>
                  <a:lnTo>
                    <a:pt x="1636" y="13500"/>
                  </a:lnTo>
                  <a:lnTo>
                    <a:pt x="2352" y="13295"/>
                  </a:lnTo>
                  <a:lnTo>
                    <a:pt x="2148" y="13398"/>
                  </a:lnTo>
                  <a:lnTo>
                    <a:pt x="2761" y="13193"/>
                  </a:lnTo>
                  <a:lnTo>
                    <a:pt x="2761" y="13193"/>
                  </a:lnTo>
                  <a:lnTo>
                    <a:pt x="1636" y="14011"/>
                  </a:lnTo>
                  <a:lnTo>
                    <a:pt x="3273" y="14114"/>
                  </a:lnTo>
                  <a:lnTo>
                    <a:pt x="3068" y="14625"/>
                  </a:lnTo>
                  <a:lnTo>
                    <a:pt x="3375" y="15034"/>
                  </a:lnTo>
                  <a:lnTo>
                    <a:pt x="3989" y="14932"/>
                  </a:lnTo>
                  <a:lnTo>
                    <a:pt x="3682" y="15136"/>
                  </a:lnTo>
                  <a:lnTo>
                    <a:pt x="4295" y="14932"/>
                  </a:lnTo>
                  <a:lnTo>
                    <a:pt x="4193" y="15034"/>
                  </a:lnTo>
                  <a:lnTo>
                    <a:pt x="4193" y="15034"/>
                  </a:lnTo>
                  <a:lnTo>
                    <a:pt x="4602" y="14727"/>
                  </a:lnTo>
                  <a:lnTo>
                    <a:pt x="4500" y="14625"/>
                  </a:lnTo>
                  <a:lnTo>
                    <a:pt x="5523" y="14318"/>
                  </a:lnTo>
                  <a:lnTo>
                    <a:pt x="5318" y="14318"/>
                  </a:lnTo>
                  <a:lnTo>
                    <a:pt x="5830" y="14114"/>
                  </a:lnTo>
                  <a:lnTo>
                    <a:pt x="5727" y="14114"/>
                  </a:lnTo>
                  <a:lnTo>
                    <a:pt x="5727" y="13909"/>
                  </a:lnTo>
                  <a:lnTo>
                    <a:pt x="6136" y="14011"/>
                  </a:lnTo>
                  <a:lnTo>
                    <a:pt x="6750" y="14011"/>
                  </a:lnTo>
                  <a:lnTo>
                    <a:pt x="6852" y="13807"/>
                  </a:lnTo>
                  <a:lnTo>
                    <a:pt x="7159" y="13909"/>
                  </a:lnTo>
                  <a:lnTo>
                    <a:pt x="8386" y="13500"/>
                  </a:lnTo>
                  <a:lnTo>
                    <a:pt x="8080" y="13398"/>
                  </a:lnTo>
                  <a:lnTo>
                    <a:pt x="7977" y="13398"/>
                  </a:lnTo>
                  <a:lnTo>
                    <a:pt x="8080" y="13193"/>
                  </a:lnTo>
                  <a:lnTo>
                    <a:pt x="8080" y="12886"/>
                  </a:lnTo>
                  <a:lnTo>
                    <a:pt x="7364" y="12682"/>
                  </a:lnTo>
                  <a:lnTo>
                    <a:pt x="7364" y="12682"/>
                  </a:lnTo>
                  <a:lnTo>
                    <a:pt x="7568" y="12784"/>
                  </a:lnTo>
                  <a:lnTo>
                    <a:pt x="6852" y="12886"/>
                  </a:lnTo>
                  <a:lnTo>
                    <a:pt x="7261" y="12682"/>
                  </a:lnTo>
                  <a:lnTo>
                    <a:pt x="6341" y="12682"/>
                  </a:lnTo>
                  <a:lnTo>
                    <a:pt x="6034" y="12989"/>
                  </a:lnTo>
                  <a:lnTo>
                    <a:pt x="6034" y="13193"/>
                  </a:lnTo>
                  <a:lnTo>
                    <a:pt x="5625" y="13398"/>
                  </a:lnTo>
                  <a:lnTo>
                    <a:pt x="5625" y="13398"/>
                  </a:lnTo>
                  <a:lnTo>
                    <a:pt x="5932" y="13193"/>
                  </a:lnTo>
                  <a:lnTo>
                    <a:pt x="5523" y="13295"/>
                  </a:lnTo>
                  <a:lnTo>
                    <a:pt x="5523" y="13091"/>
                  </a:lnTo>
                  <a:lnTo>
                    <a:pt x="6545" y="12375"/>
                  </a:lnTo>
                  <a:lnTo>
                    <a:pt x="6136" y="12375"/>
                  </a:lnTo>
                  <a:lnTo>
                    <a:pt x="6648" y="12068"/>
                  </a:lnTo>
                  <a:lnTo>
                    <a:pt x="5830" y="11659"/>
                  </a:lnTo>
                  <a:lnTo>
                    <a:pt x="5932" y="11557"/>
                  </a:lnTo>
                  <a:lnTo>
                    <a:pt x="5727" y="11352"/>
                  </a:lnTo>
                  <a:lnTo>
                    <a:pt x="5523" y="11557"/>
                  </a:lnTo>
                  <a:lnTo>
                    <a:pt x="5523" y="11352"/>
                  </a:lnTo>
                  <a:lnTo>
                    <a:pt x="5625" y="11250"/>
                  </a:lnTo>
                  <a:lnTo>
                    <a:pt x="5420" y="11045"/>
                  </a:lnTo>
                  <a:close/>
                  <a:moveTo>
                    <a:pt x="113011" y="13193"/>
                  </a:moveTo>
                  <a:lnTo>
                    <a:pt x="112807" y="13398"/>
                  </a:lnTo>
                  <a:lnTo>
                    <a:pt x="112500" y="13398"/>
                  </a:lnTo>
                  <a:lnTo>
                    <a:pt x="112193" y="13602"/>
                  </a:lnTo>
                  <a:lnTo>
                    <a:pt x="111682" y="13500"/>
                  </a:lnTo>
                  <a:lnTo>
                    <a:pt x="111682" y="13500"/>
                  </a:lnTo>
                  <a:lnTo>
                    <a:pt x="111784" y="13807"/>
                  </a:lnTo>
                  <a:lnTo>
                    <a:pt x="111170" y="13500"/>
                  </a:lnTo>
                  <a:lnTo>
                    <a:pt x="110864" y="13500"/>
                  </a:lnTo>
                  <a:lnTo>
                    <a:pt x="110864" y="13807"/>
                  </a:lnTo>
                  <a:lnTo>
                    <a:pt x="110250" y="13602"/>
                  </a:lnTo>
                  <a:lnTo>
                    <a:pt x="110148" y="14011"/>
                  </a:lnTo>
                  <a:lnTo>
                    <a:pt x="109739" y="14011"/>
                  </a:lnTo>
                  <a:lnTo>
                    <a:pt x="109636" y="14216"/>
                  </a:lnTo>
                  <a:lnTo>
                    <a:pt x="109432" y="14114"/>
                  </a:lnTo>
                  <a:lnTo>
                    <a:pt x="109534" y="14011"/>
                  </a:lnTo>
                  <a:lnTo>
                    <a:pt x="109330" y="13807"/>
                  </a:lnTo>
                  <a:lnTo>
                    <a:pt x="109534" y="13602"/>
                  </a:lnTo>
                  <a:lnTo>
                    <a:pt x="108716" y="13398"/>
                  </a:lnTo>
                  <a:lnTo>
                    <a:pt x="108511" y="13398"/>
                  </a:lnTo>
                  <a:lnTo>
                    <a:pt x="108716" y="13705"/>
                  </a:lnTo>
                  <a:lnTo>
                    <a:pt x="108102" y="13500"/>
                  </a:lnTo>
                  <a:lnTo>
                    <a:pt x="108102" y="13500"/>
                  </a:lnTo>
                  <a:lnTo>
                    <a:pt x="108205" y="13602"/>
                  </a:lnTo>
                  <a:lnTo>
                    <a:pt x="108102" y="13705"/>
                  </a:lnTo>
                  <a:lnTo>
                    <a:pt x="107898" y="13705"/>
                  </a:lnTo>
                  <a:lnTo>
                    <a:pt x="108205" y="13807"/>
                  </a:lnTo>
                  <a:lnTo>
                    <a:pt x="107693" y="13807"/>
                  </a:lnTo>
                  <a:lnTo>
                    <a:pt x="107795" y="14011"/>
                  </a:lnTo>
                  <a:lnTo>
                    <a:pt x="107386" y="14011"/>
                  </a:lnTo>
                  <a:lnTo>
                    <a:pt x="109125" y="14114"/>
                  </a:lnTo>
                  <a:lnTo>
                    <a:pt x="108614" y="14318"/>
                  </a:lnTo>
                  <a:lnTo>
                    <a:pt x="109125" y="14318"/>
                  </a:lnTo>
                  <a:lnTo>
                    <a:pt x="109125" y="14420"/>
                  </a:lnTo>
                  <a:lnTo>
                    <a:pt x="107898" y="14523"/>
                  </a:lnTo>
                  <a:lnTo>
                    <a:pt x="107795" y="14727"/>
                  </a:lnTo>
                  <a:lnTo>
                    <a:pt x="109227" y="14830"/>
                  </a:lnTo>
                  <a:lnTo>
                    <a:pt x="108818" y="15136"/>
                  </a:lnTo>
                  <a:lnTo>
                    <a:pt x="109227" y="15034"/>
                  </a:lnTo>
                  <a:lnTo>
                    <a:pt x="108307" y="15341"/>
                  </a:lnTo>
                  <a:lnTo>
                    <a:pt x="108716" y="15545"/>
                  </a:lnTo>
                  <a:lnTo>
                    <a:pt x="109432" y="15443"/>
                  </a:lnTo>
                  <a:lnTo>
                    <a:pt x="111375" y="15852"/>
                  </a:lnTo>
                  <a:lnTo>
                    <a:pt x="114648" y="14625"/>
                  </a:lnTo>
                  <a:lnTo>
                    <a:pt x="114648" y="14216"/>
                  </a:lnTo>
                  <a:lnTo>
                    <a:pt x="114034" y="13807"/>
                  </a:lnTo>
                  <a:lnTo>
                    <a:pt x="113830" y="13500"/>
                  </a:lnTo>
                  <a:lnTo>
                    <a:pt x="114239" y="13295"/>
                  </a:lnTo>
                  <a:lnTo>
                    <a:pt x="113011" y="13193"/>
                  </a:lnTo>
                  <a:close/>
                  <a:moveTo>
                    <a:pt x="65557" y="13705"/>
                  </a:moveTo>
                  <a:lnTo>
                    <a:pt x="63102" y="15750"/>
                  </a:lnTo>
                  <a:lnTo>
                    <a:pt x="63818" y="15750"/>
                  </a:lnTo>
                  <a:lnTo>
                    <a:pt x="64023" y="16159"/>
                  </a:lnTo>
                  <a:lnTo>
                    <a:pt x="66309" y="15364"/>
                  </a:lnTo>
                  <a:lnTo>
                    <a:pt x="66309" y="15364"/>
                  </a:lnTo>
                  <a:lnTo>
                    <a:pt x="67091" y="15852"/>
                  </a:lnTo>
                  <a:lnTo>
                    <a:pt x="68114" y="15545"/>
                  </a:lnTo>
                  <a:lnTo>
                    <a:pt x="67091" y="15443"/>
                  </a:lnTo>
                  <a:lnTo>
                    <a:pt x="67295" y="14830"/>
                  </a:lnTo>
                  <a:lnTo>
                    <a:pt x="65659" y="14011"/>
                  </a:lnTo>
                  <a:lnTo>
                    <a:pt x="65557" y="13705"/>
                  </a:lnTo>
                  <a:close/>
                  <a:moveTo>
                    <a:pt x="128864" y="16773"/>
                  </a:moveTo>
                  <a:lnTo>
                    <a:pt x="128455" y="16875"/>
                  </a:lnTo>
                  <a:lnTo>
                    <a:pt x="128455" y="16875"/>
                  </a:lnTo>
                  <a:lnTo>
                    <a:pt x="128785" y="16804"/>
                  </a:lnTo>
                  <a:lnTo>
                    <a:pt x="128785" y="16804"/>
                  </a:lnTo>
                  <a:lnTo>
                    <a:pt x="128864" y="16773"/>
                  </a:lnTo>
                  <a:close/>
                  <a:moveTo>
                    <a:pt x="73227" y="6955"/>
                  </a:moveTo>
                  <a:lnTo>
                    <a:pt x="70773" y="7364"/>
                  </a:lnTo>
                  <a:lnTo>
                    <a:pt x="71080" y="7670"/>
                  </a:lnTo>
                  <a:lnTo>
                    <a:pt x="70159" y="7773"/>
                  </a:lnTo>
                  <a:lnTo>
                    <a:pt x="70466" y="8080"/>
                  </a:lnTo>
                  <a:lnTo>
                    <a:pt x="70466" y="8386"/>
                  </a:lnTo>
                  <a:lnTo>
                    <a:pt x="69443" y="8386"/>
                  </a:lnTo>
                  <a:lnTo>
                    <a:pt x="69955" y="8693"/>
                  </a:lnTo>
                  <a:lnTo>
                    <a:pt x="69545" y="9205"/>
                  </a:lnTo>
                  <a:lnTo>
                    <a:pt x="68318" y="9205"/>
                  </a:lnTo>
                  <a:lnTo>
                    <a:pt x="69545" y="8898"/>
                  </a:lnTo>
                  <a:lnTo>
                    <a:pt x="69136" y="8489"/>
                  </a:lnTo>
                  <a:lnTo>
                    <a:pt x="69443" y="7773"/>
                  </a:lnTo>
                  <a:lnTo>
                    <a:pt x="71284" y="6955"/>
                  </a:lnTo>
                  <a:lnTo>
                    <a:pt x="71284" y="6955"/>
                  </a:lnTo>
                  <a:lnTo>
                    <a:pt x="67193" y="8284"/>
                  </a:lnTo>
                  <a:lnTo>
                    <a:pt x="66682" y="8898"/>
                  </a:lnTo>
                  <a:lnTo>
                    <a:pt x="67909" y="9205"/>
                  </a:lnTo>
                  <a:lnTo>
                    <a:pt x="66477" y="9205"/>
                  </a:lnTo>
                  <a:lnTo>
                    <a:pt x="68114" y="9716"/>
                  </a:lnTo>
                  <a:lnTo>
                    <a:pt x="67909" y="9920"/>
                  </a:lnTo>
                  <a:lnTo>
                    <a:pt x="70875" y="10125"/>
                  </a:lnTo>
                  <a:lnTo>
                    <a:pt x="70875" y="10023"/>
                  </a:lnTo>
                  <a:lnTo>
                    <a:pt x="72205" y="10227"/>
                  </a:lnTo>
                  <a:lnTo>
                    <a:pt x="72614" y="9716"/>
                  </a:lnTo>
                  <a:lnTo>
                    <a:pt x="73534" y="9920"/>
                  </a:lnTo>
                  <a:lnTo>
                    <a:pt x="73432" y="10227"/>
                  </a:lnTo>
                  <a:lnTo>
                    <a:pt x="73841" y="10330"/>
                  </a:lnTo>
                  <a:lnTo>
                    <a:pt x="73636" y="10432"/>
                  </a:lnTo>
                  <a:lnTo>
                    <a:pt x="74148" y="10330"/>
                  </a:lnTo>
                  <a:lnTo>
                    <a:pt x="74250" y="10739"/>
                  </a:lnTo>
                  <a:lnTo>
                    <a:pt x="73432" y="11148"/>
                  </a:lnTo>
                  <a:lnTo>
                    <a:pt x="74685" y="10969"/>
                  </a:lnTo>
                  <a:lnTo>
                    <a:pt x="74761" y="11045"/>
                  </a:lnTo>
                  <a:lnTo>
                    <a:pt x="74557" y="11148"/>
                  </a:lnTo>
                  <a:lnTo>
                    <a:pt x="75375" y="11557"/>
                  </a:lnTo>
                  <a:lnTo>
                    <a:pt x="75477" y="12273"/>
                  </a:lnTo>
                  <a:lnTo>
                    <a:pt x="73534" y="13398"/>
                  </a:lnTo>
                  <a:lnTo>
                    <a:pt x="73636" y="13807"/>
                  </a:lnTo>
                  <a:lnTo>
                    <a:pt x="72000" y="14216"/>
                  </a:lnTo>
                  <a:lnTo>
                    <a:pt x="72000" y="14318"/>
                  </a:lnTo>
                  <a:lnTo>
                    <a:pt x="72000" y="14420"/>
                  </a:lnTo>
                  <a:lnTo>
                    <a:pt x="71898" y="14625"/>
                  </a:lnTo>
                  <a:lnTo>
                    <a:pt x="72000" y="14318"/>
                  </a:lnTo>
                  <a:lnTo>
                    <a:pt x="71080" y="14114"/>
                  </a:lnTo>
                  <a:lnTo>
                    <a:pt x="70057" y="14727"/>
                  </a:lnTo>
                  <a:lnTo>
                    <a:pt x="70977" y="15136"/>
                  </a:lnTo>
                  <a:lnTo>
                    <a:pt x="72307" y="14727"/>
                  </a:lnTo>
                  <a:lnTo>
                    <a:pt x="72818" y="14830"/>
                  </a:lnTo>
                  <a:lnTo>
                    <a:pt x="72716" y="15034"/>
                  </a:lnTo>
                  <a:lnTo>
                    <a:pt x="72716" y="15034"/>
                  </a:lnTo>
                  <a:lnTo>
                    <a:pt x="73330" y="14830"/>
                  </a:lnTo>
                  <a:lnTo>
                    <a:pt x="73125" y="15034"/>
                  </a:lnTo>
                  <a:lnTo>
                    <a:pt x="73739" y="15545"/>
                  </a:lnTo>
                  <a:lnTo>
                    <a:pt x="73636" y="15648"/>
                  </a:lnTo>
                  <a:lnTo>
                    <a:pt x="74148" y="15750"/>
                  </a:lnTo>
                  <a:lnTo>
                    <a:pt x="73636" y="15955"/>
                  </a:lnTo>
                  <a:lnTo>
                    <a:pt x="74250" y="16261"/>
                  </a:lnTo>
                  <a:lnTo>
                    <a:pt x="74045" y="16364"/>
                  </a:lnTo>
                  <a:lnTo>
                    <a:pt x="76909" y="17386"/>
                  </a:lnTo>
                  <a:lnTo>
                    <a:pt x="77318" y="17080"/>
                  </a:lnTo>
                  <a:lnTo>
                    <a:pt x="76398" y="16364"/>
                  </a:lnTo>
                  <a:lnTo>
                    <a:pt x="76500" y="16261"/>
                  </a:lnTo>
                  <a:lnTo>
                    <a:pt x="75989" y="15648"/>
                  </a:lnTo>
                  <a:lnTo>
                    <a:pt x="76705" y="15648"/>
                  </a:lnTo>
                  <a:lnTo>
                    <a:pt x="78034" y="16568"/>
                  </a:lnTo>
                  <a:lnTo>
                    <a:pt x="78239" y="16364"/>
                  </a:lnTo>
                  <a:lnTo>
                    <a:pt x="78545" y="16364"/>
                  </a:lnTo>
                  <a:lnTo>
                    <a:pt x="78545" y="15648"/>
                  </a:lnTo>
                  <a:lnTo>
                    <a:pt x="78955" y="15955"/>
                  </a:lnTo>
                  <a:lnTo>
                    <a:pt x="78955" y="15443"/>
                  </a:lnTo>
                  <a:lnTo>
                    <a:pt x="79057" y="15341"/>
                  </a:lnTo>
                  <a:lnTo>
                    <a:pt x="78750" y="15341"/>
                  </a:lnTo>
                  <a:lnTo>
                    <a:pt x="78545" y="15136"/>
                  </a:lnTo>
                  <a:lnTo>
                    <a:pt x="78955" y="14932"/>
                  </a:lnTo>
                  <a:lnTo>
                    <a:pt x="78648" y="14932"/>
                  </a:lnTo>
                  <a:lnTo>
                    <a:pt x="78955" y="14830"/>
                  </a:lnTo>
                  <a:lnTo>
                    <a:pt x="78648" y="14625"/>
                  </a:lnTo>
                  <a:lnTo>
                    <a:pt x="78034" y="14625"/>
                  </a:lnTo>
                  <a:lnTo>
                    <a:pt x="77830" y="14216"/>
                  </a:lnTo>
                  <a:lnTo>
                    <a:pt x="78034" y="14114"/>
                  </a:lnTo>
                  <a:lnTo>
                    <a:pt x="77523" y="14011"/>
                  </a:lnTo>
                  <a:lnTo>
                    <a:pt x="77727" y="13807"/>
                  </a:lnTo>
                  <a:lnTo>
                    <a:pt x="77318" y="13398"/>
                  </a:lnTo>
                  <a:lnTo>
                    <a:pt x="78341" y="13602"/>
                  </a:lnTo>
                  <a:lnTo>
                    <a:pt x="78136" y="13193"/>
                  </a:lnTo>
                  <a:lnTo>
                    <a:pt x="78545" y="13091"/>
                  </a:lnTo>
                  <a:lnTo>
                    <a:pt x="79466" y="13398"/>
                  </a:lnTo>
                  <a:lnTo>
                    <a:pt x="79159" y="13602"/>
                  </a:lnTo>
                  <a:lnTo>
                    <a:pt x="79159" y="13602"/>
                  </a:lnTo>
                  <a:lnTo>
                    <a:pt x="80284" y="13295"/>
                  </a:lnTo>
                  <a:lnTo>
                    <a:pt x="79466" y="13909"/>
                  </a:lnTo>
                  <a:lnTo>
                    <a:pt x="79568" y="14318"/>
                  </a:lnTo>
                  <a:lnTo>
                    <a:pt x="79977" y="14114"/>
                  </a:lnTo>
                  <a:lnTo>
                    <a:pt x="80182" y="14420"/>
                  </a:lnTo>
                  <a:lnTo>
                    <a:pt x="80489" y="14420"/>
                  </a:lnTo>
                  <a:lnTo>
                    <a:pt x="80693" y="13909"/>
                  </a:lnTo>
                  <a:lnTo>
                    <a:pt x="80489" y="13909"/>
                  </a:lnTo>
                  <a:lnTo>
                    <a:pt x="81818" y="13602"/>
                  </a:lnTo>
                  <a:lnTo>
                    <a:pt x="81511" y="13398"/>
                  </a:lnTo>
                  <a:lnTo>
                    <a:pt x="81716" y="13295"/>
                  </a:lnTo>
                  <a:lnTo>
                    <a:pt x="81614" y="13193"/>
                  </a:lnTo>
                  <a:lnTo>
                    <a:pt x="82023" y="13295"/>
                  </a:lnTo>
                  <a:lnTo>
                    <a:pt x="82023" y="12989"/>
                  </a:lnTo>
                  <a:lnTo>
                    <a:pt x="82227" y="12989"/>
                  </a:lnTo>
                  <a:lnTo>
                    <a:pt x="82227" y="12682"/>
                  </a:lnTo>
                  <a:lnTo>
                    <a:pt x="81000" y="12886"/>
                  </a:lnTo>
                  <a:lnTo>
                    <a:pt x="81716" y="12477"/>
                  </a:lnTo>
                  <a:lnTo>
                    <a:pt x="80591" y="12375"/>
                  </a:lnTo>
                  <a:lnTo>
                    <a:pt x="81307" y="12170"/>
                  </a:lnTo>
                  <a:lnTo>
                    <a:pt x="80591" y="11966"/>
                  </a:lnTo>
                  <a:lnTo>
                    <a:pt x="80795" y="11864"/>
                  </a:lnTo>
                  <a:lnTo>
                    <a:pt x="80284" y="12068"/>
                  </a:lnTo>
                  <a:lnTo>
                    <a:pt x="80386" y="11864"/>
                  </a:lnTo>
                  <a:lnTo>
                    <a:pt x="80080" y="11864"/>
                  </a:lnTo>
                  <a:lnTo>
                    <a:pt x="80182" y="11761"/>
                  </a:lnTo>
                  <a:lnTo>
                    <a:pt x="79670" y="11966"/>
                  </a:lnTo>
                  <a:lnTo>
                    <a:pt x="80080" y="11557"/>
                  </a:lnTo>
                  <a:lnTo>
                    <a:pt x="79670" y="11761"/>
                  </a:lnTo>
                  <a:lnTo>
                    <a:pt x="79466" y="11761"/>
                  </a:lnTo>
                  <a:lnTo>
                    <a:pt x="79568" y="11557"/>
                  </a:lnTo>
                  <a:lnTo>
                    <a:pt x="79773" y="11455"/>
                  </a:lnTo>
                  <a:lnTo>
                    <a:pt x="79057" y="11352"/>
                  </a:lnTo>
                  <a:lnTo>
                    <a:pt x="78955" y="11148"/>
                  </a:lnTo>
                  <a:lnTo>
                    <a:pt x="78239" y="11045"/>
                  </a:lnTo>
                  <a:lnTo>
                    <a:pt x="79466" y="10943"/>
                  </a:lnTo>
                  <a:lnTo>
                    <a:pt x="78648" y="10841"/>
                  </a:lnTo>
                  <a:lnTo>
                    <a:pt x="80284" y="10739"/>
                  </a:lnTo>
                  <a:lnTo>
                    <a:pt x="78648" y="10534"/>
                  </a:lnTo>
                  <a:lnTo>
                    <a:pt x="80080" y="10330"/>
                  </a:lnTo>
                  <a:lnTo>
                    <a:pt x="79670" y="10023"/>
                  </a:lnTo>
                  <a:lnTo>
                    <a:pt x="79057" y="10125"/>
                  </a:lnTo>
                  <a:lnTo>
                    <a:pt x="79364" y="9920"/>
                  </a:lnTo>
                  <a:lnTo>
                    <a:pt x="78443" y="10023"/>
                  </a:lnTo>
                  <a:lnTo>
                    <a:pt x="79568" y="9716"/>
                  </a:lnTo>
                  <a:lnTo>
                    <a:pt x="79466" y="9409"/>
                  </a:lnTo>
                  <a:lnTo>
                    <a:pt x="78750" y="9409"/>
                  </a:lnTo>
                  <a:lnTo>
                    <a:pt x="77625" y="10023"/>
                  </a:lnTo>
                  <a:lnTo>
                    <a:pt x="77420" y="9716"/>
                  </a:lnTo>
                  <a:lnTo>
                    <a:pt x="78545" y="9205"/>
                  </a:lnTo>
                  <a:lnTo>
                    <a:pt x="77216" y="9409"/>
                  </a:lnTo>
                  <a:lnTo>
                    <a:pt x="77216" y="9409"/>
                  </a:lnTo>
                  <a:lnTo>
                    <a:pt x="78341" y="8898"/>
                  </a:lnTo>
                  <a:lnTo>
                    <a:pt x="76500" y="8898"/>
                  </a:lnTo>
                  <a:lnTo>
                    <a:pt x="77011" y="8591"/>
                  </a:lnTo>
                  <a:lnTo>
                    <a:pt x="75886" y="9000"/>
                  </a:lnTo>
                  <a:lnTo>
                    <a:pt x="76398" y="8693"/>
                  </a:lnTo>
                  <a:lnTo>
                    <a:pt x="76091" y="8693"/>
                  </a:lnTo>
                  <a:lnTo>
                    <a:pt x="76807" y="8386"/>
                  </a:lnTo>
                  <a:lnTo>
                    <a:pt x="76807" y="8386"/>
                  </a:lnTo>
                  <a:lnTo>
                    <a:pt x="75580" y="8591"/>
                  </a:lnTo>
                  <a:lnTo>
                    <a:pt x="75580" y="8591"/>
                  </a:lnTo>
                  <a:lnTo>
                    <a:pt x="76500" y="8182"/>
                  </a:lnTo>
                  <a:lnTo>
                    <a:pt x="74761" y="7875"/>
                  </a:lnTo>
                  <a:lnTo>
                    <a:pt x="74761" y="7875"/>
                  </a:lnTo>
                  <a:lnTo>
                    <a:pt x="74864" y="8182"/>
                  </a:lnTo>
                  <a:lnTo>
                    <a:pt x="74045" y="8489"/>
                  </a:lnTo>
                  <a:lnTo>
                    <a:pt x="73739" y="8080"/>
                  </a:lnTo>
                  <a:lnTo>
                    <a:pt x="72511" y="8489"/>
                  </a:lnTo>
                  <a:lnTo>
                    <a:pt x="72818" y="8284"/>
                  </a:lnTo>
                  <a:lnTo>
                    <a:pt x="72716" y="8182"/>
                  </a:lnTo>
                  <a:lnTo>
                    <a:pt x="73125" y="7977"/>
                  </a:lnTo>
                  <a:lnTo>
                    <a:pt x="72614" y="8182"/>
                  </a:lnTo>
                  <a:lnTo>
                    <a:pt x="73534" y="7773"/>
                  </a:lnTo>
                  <a:lnTo>
                    <a:pt x="73227" y="6955"/>
                  </a:lnTo>
                  <a:close/>
                  <a:moveTo>
                    <a:pt x="103500" y="0"/>
                  </a:moveTo>
                  <a:lnTo>
                    <a:pt x="103807" y="102"/>
                  </a:lnTo>
                  <a:lnTo>
                    <a:pt x="99205" y="205"/>
                  </a:lnTo>
                  <a:lnTo>
                    <a:pt x="101864" y="307"/>
                  </a:lnTo>
                  <a:lnTo>
                    <a:pt x="99614" y="409"/>
                  </a:lnTo>
                  <a:lnTo>
                    <a:pt x="100125" y="511"/>
                  </a:lnTo>
                  <a:lnTo>
                    <a:pt x="99818" y="818"/>
                  </a:lnTo>
                  <a:lnTo>
                    <a:pt x="97057" y="511"/>
                  </a:lnTo>
                  <a:lnTo>
                    <a:pt x="97057" y="818"/>
                  </a:lnTo>
                  <a:lnTo>
                    <a:pt x="94705" y="1023"/>
                  </a:lnTo>
                  <a:lnTo>
                    <a:pt x="94705" y="614"/>
                  </a:lnTo>
                  <a:lnTo>
                    <a:pt x="91841" y="818"/>
                  </a:lnTo>
                  <a:lnTo>
                    <a:pt x="92966" y="1227"/>
                  </a:lnTo>
                  <a:lnTo>
                    <a:pt x="90716" y="920"/>
                  </a:lnTo>
                  <a:lnTo>
                    <a:pt x="86625" y="1841"/>
                  </a:lnTo>
                  <a:lnTo>
                    <a:pt x="86932" y="2148"/>
                  </a:lnTo>
                  <a:lnTo>
                    <a:pt x="87955" y="2045"/>
                  </a:lnTo>
                  <a:lnTo>
                    <a:pt x="87955" y="2045"/>
                  </a:lnTo>
                  <a:lnTo>
                    <a:pt x="81818" y="3477"/>
                  </a:lnTo>
                  <a:lnTo>
                    <a:pt x="83148" y="3682"/>
                  </a:lnTo>
                  <a:lnTo>
                    <a:pt x="82841" y="3784"/>
                  </a:lnTo>
                  <a:lnTo>
                    <a:pt x="85091" y="3989"/>
                  </a:lnTo>
                  <a:lnTo>
                    <a:pt x="82023" y="4295"/>
                  </a:lnTo>
                  <a:lnTo>
                    <a:pt x="82125" y="4398"/>
                  </a:lnTo>
                  <a:lnTo>
                    <a:pt x="82125" y="4500"/>
                  </a:lnTo>
                  <a:lnTo>
                    <a:pt x="83557" y="4602"/>
                  </a:lnTo>
                  <a:lnTo>
                    <a:pt x="82534" y="4807"/>
                  </a:lnTo>
                  <a:lnTo>
                    <a:pt x="88568" y="5318"/>
                  </a:lnTo>
                  <a:lnTo>
                    <a:pt x="88568" y="5625"/>
                  </a:lnTo>
                  <a:lnTo>
                    <a:pt x="89489" y="6341"/>
                  </a:lnTo>
                  <a:lnTo>
                    <a:pt x="88670" y="6648"/>
                  </a:lnTo>
                  <a:lnTo>
                    <a:pt x="89386" y="6750"/>
                  </a:lnTo>
                  <a:lnTo>
                    <a:pt x="89182" y="7057"/>
                  </a:lnTo>
                  <a:lnTo>
                    <a:pt x="89386" y="7466"/>
                  </a:lnTo>
                  <a:lnTo>
                    <a:pt x="89386" y="7568"/>
                  </a:lnTo>
                  <a:lnTo>
                    <a:pt x="89591" y="7773"/>
                  </a:lnTo>
                  <a:lnTo>
                    <a:pt x="88977" y="7977"/>
                  </a:lnTo>
                  <a:lnTo>
                    <a:pt x="89080" y="8080"/>
                  </a:lnTo>
                  <a:lnTo>
                    <a:pt x="88773" y="8182"/>
                  </a:lnTo>
                  <a:lnTo>
                    <a:pt x="88773" y="8182"/>
                  </a:lnTo>
                  <a:lnTo>
                    <a:pt x="89386" y="8080"/>
                  </a:lnTo>
                  <a:lnTo>
                    <a:pt x="88568" y="8795"/>
                  </a:lnTo>
                  <a:lnTo>
                    <a:pt x="90102" y="8489"/>
                  </a:lnTo>
                  <a:lnTo>
                    <a:pt x="90102" y="8591"/>
                  </a:lnTo>
                  <a:lnTo>
                    <a:pt x="90205" y="8591"/>
                  </a:lnTo>
                  <a:lnTo>
                    <a:pt x="90205" y="8693"/>
                  </a:lnTo>
                  <a:lnTo>
                    <a:pt x="91023" y="8693"/>
                  </a:lnTo>
                  <a:lnTo>
                    <a:pt x="90000" y="9102"/>
                  </a:lnTo>
                  <a:lnTo>
                    <a:pt x="91227" y="9205"/>
                  </a:lnTo>
                  <a:lnTo>
                    <a:pt x="90716" y="9205"/>
                  </a:lnTo>
                  <a:lnTo>
                    <a:pt x="91023" y="9409"/>
                  </a:lnTo>
                  <a:lnTo>
                    <a:pt x="91227" y="9716"/>
                  </a:lnTo>
                  <a:lnTo>
                    <a:pt x="88875" y="9614"/>
                  </a:lnTo>
                  <a:lnTo>
                    <a:pt x="91330" y="10125"/>
                  </a:lnTo>
                  <a:lnTo>
                    <a:pt x="90511" y="10739"/>
                  </a:lnTo>
                  <a:lnTo>
                    <a:pt x="91023" y="10739"/>
                  </a:lnTo>
                  <a:lnTo>
                    <a:pt x="90511" y="10841"/>
                  </a:lnTo>
                  <a:lnTo>
                    <a:pt x="90205" y="11148"/>
                  </a:lnTo>
                  <a:lnTo>
                    <a:pt x="90511" y="11148"/>
                  </a:lnTo>
                  <a:lnTo>
                    <a:pt x="88568" y="11557"/>
                  </a:lnTo>
                  <a:lnTo>
                    <a:pt x="90102" y="11455"/>
                  </a:lnTo>
                  <a:lnTo>
                    <a:pt x="88057" y="12170"/>
                  </a:lnTo>
                  <a:lnTo>
                    <a:pt x="90102" y="11966"/>
                  </a:lnTo>
                  <a:lnTo>
                    <a:pt x="89898" y="12068"/>
                  </a:lnTo>
                  <a:lnTo>
                    <a:pt x="90205" y="12273"/>
                  </a:lnTo>
                  <a:lnTo>
                    <a:pt x="88261" y="12273"/>
                  </a:lnTo>
                  <a:lnTo>
                    <a:pt x="87955" y="12784"/>
                  </a:lnTo>
                  <a:lnTo>
                    <a:pt x="88773" y="12784"/>
                  </a:lnTo>
                  <a:lnTo>
                    <a:pt x="87648" y="13500"/>
                  </a:lnTo>
                  <a:lnTo>
                    <a:pt x="89489" y="12784"/>
                  </a:lnTo>
                  <a:lnTo>
                    <a:pt x="89489" y="12784"/>
                  </a:lnTo>
                  <a:lnTo>
                    <a:pt x="87750" y="13602"/>
                  </a:lnTo>
                  <a:lnTo>
                    <a:pt x="87852" y="13602"/>
                  </a:lnTo>
                  <a:lnTo>
                    <a:pt x="87750" y="14011"/>
                  </a:lnTo>
                  <a:lnTo>
                    <a:pt x="89182" y="13807"/>
                  </a:lnTo>
                  <a:lnTo>
                    <a:pt x="88261" y="14114"/>
                  </a:lnTo>
                  <a:lnTo>
                    <a:pt x="88057" y="15239"/>
                  </a:lnTo>
                  <a:lnTo>
                    <a:pt x="88773" y="14727"/>
                  </a:lnTo>
                  <a:lnTo>
                    <a:pt x="89080" y="14318"/>
                  </a:lnTo>
                  <a:lnTo>
                    <a:pt x="89489" y="15034"/>
                  </a:lnTo>
                  <a:lnTo>
                    <a:pt x="88466" y="15034"/>
                  </a:lnTo>
                  <a:lnTo>
                    <a:pt x="88364" y="15341"/>
                  </a:lnTo>
                  <a:lnTo>
                    <a:pt x="89080" y="15136"/>
                  </a:lnTo>
                  <a:lnTo>
                    <a:pt x="88977" y="15239"/>
                  </a:lnTo>
                  <a:lnTo>
                    <a:pt x="89182" y="15239"/>
                  </a:lnTo>
                  <a:lnTo>
                    <a:pt x="88261" y="15443"/>
                  </a:lnTo>
                  <a:lnTo>
                    <a:pt x="88568" y="16466"/>
                  </a:lnTo>
                  <a:lnTo>
                    <a:pt x="89080" y="16261"/>
                  </a:lnTo>
                  <a:lnTo>
                    <a:pt x="88568" y="16773"/>
                  </a:lnTo>
                  <a:lnTo>
                    <a:pt x="89386" y="17182"/>
                  </a:lnTo>
                  <a:lnTo>
                    <a:pt x="88977" y="17591"/>
                  </a:lnTo>
                  <a:lnTo>
                    <a:pt x="89386" y="18205"/>
                  </a:lnTo>
                  <a:lnTo>
                    <a:pt x="89795" y="18205"/>
                  </a:lnTo>
                  <a:lnTo>
                    <a:pt x="89386" y="18409"/>
                  </a:lnTo>
                  <a:lnTo>
                    <a:pt x="89795" y="18409"/>
                  </a:lnTo>
                  <a:lnTo>
                    <a:pt x="89795" y="18307"/>
                  </a:lnTo>
                  <a:lnTo>
                    <a:pt x="91227" y="18000"/>
                  </a:lnTo>
                  <a:lnTo>
                    <a:pt x="91023" y="18614"/>
                  </a:lnTo>
                  <a:lnTo>
                    <a:pt x="91943" y="18511"/>
                  </a:lnTo>
                  <a:lnTo>
                    <a:pt x="91943" y="18511"/>
                  </a:lnTo>
                  <a:lnTo>
                    <a:pt x="91330" y="18920"/>
                  </a:lnTo>
                  <a:lnTo>
                    <a:pt x="91330" y="18920"/>
                  </a:lnTo>
                  <a:lnTo>
                    <a:pt x="92148" y="18818"/>
                  </a:lnTo>
                  <a:lnTo>
                    <a:pt x="92148" y="19227"/>
                  </a:lnTo>
                  <a:lnTo>
                    <a:pt x="92455" y="19227"/>
                  </a:lnTo>
                  <a:lnTo>
                    <a:pt x="92250" y="19125"/>
                  </a:lnTo>
                  <a:lnTo>
                    <a:pt x="92966" y="18920"/>
                  </a:lnTo>
                  <a:lnTo>
                    <a:pt x="92455" y="18614"/>
                  </a:lnTo>
                  <a:lnTo>
                    <a:pt x="93375" y="18409"/>
                  </a:lnTo>
                  <a:lnTo>
                    <a:pt x="93989" y="17591"/>
                  </a:lnTo>
                  <a:lnTo>
                    <a:pt x="93784" y="17489"/>
                  </a:lnTo>
                  <a:lnTo>
                    <a:pt x="94091" y="17386"/>
                  </a:lnTo>
                  <a:lnTo>
                    <a:pt x="94295" y="16670"/>
                  </a:lnTo>
                  <a:lnTo>
                    <a:pt x="93784" y="16568"/>
                  </a:lnTo>
                  <a:lnTo>
                    <a:pt x="94807" y="16364"/>
                  </a:lnTo>
                  <a:lnTo>
                    <a:pt x="94500" y="16159"/>
                  </a:lnTo>
                  <a:lnTo>
                    <a:pt x="95830" y="15648"/>
                  </a:lnTo>
                  <a:lnTo>
                    <a:pt x="95830" y="15239"/>
                  </a:lnTo>
                  <a:lnTo>
                    <a:pt x="95216" y="15136"/>
                  </a:lnTo>
                  <a:lnTo>
                    <a:pt x="96136" y="15034"/>
                  </a:lnTo>
                  <a:lnTo>
                    <a:pt x="95830" y="14625"/>
                  </a:lnTo>
                  <a:lnTo>
                    <a:pt x="96955" y="14216"/>
                  </a:lnTo>
                  <a:lnTo>
                    <a:pt x="96545" y="14011"/>
                  </a:lnTo>
                  <a:lnTo>
                    <a:pt x="98489" y="13398"/>
                  </a:lnTo>
                  <a:lnTo>
                    <a:pt x="98182" y="13295"/>
                  </a:lnTo>
                  <a:lnTo>
                    <a:pt x="98795" y="13295"/>
                  </a:lnTo>
                  <a:lnTo>
                    <a:pt x="98386" y="13909"/>
                  </a:lnTo>
                  <a:lnTo>
                    <a:pt x="99205" y="13602"/>
                  </a:lnTo>
                  <a:lnTo>
                    <a:pt x="99307" y="13705"/>
                  </a:lnTo>
                  <a:lnTo>
                    <a:pt x="102580" y="11659"/>
                  </a:lnTo>
                  <a:lnTo>
                    <a:pt x="102682" y="11455"/>
                  </a:lnTo>
                  <a:lnTo>
                    <a:pt x="109125" y="10227"/>
                  </a:lnTo>
                  <a:lnTo>
                    <a:pt x="109023" y="10227"/>
                  </a:lnTo>
                  <a:lnTo>
                    <a:pt x="109636" y="10023"/>
                  </a:lnTo>
                  <a:lnTo>
                    <a:pt x="106159" y="10023"/>
                  </a:lnTo>
                  <a:lnTo>
                    <a:pt x="106977" y="9716"/>
                  </a:lnTo>
                  <a:lnTo>
                    <a:pt x="105239" y="9716"/>
                  </a:lnTo>
                  <a:lnTo>
                    <a:pt x="105852" y="9205"/>
                  </a:lnTo>
                  <a:lnTo>
                    <a:pt x="107386" y="9205"/>
                  </a:lnTo>
                  <a:lnTo>
                    <a:pt x="106773" y="8693"/>
                  </a:lnTo>
                  <a:lnTo>
                    <a:pt x="108409" y="9102"/>
                  </a:lnTo>
                  <a:lnTo>
                    <a:pt x="109023" y="9716"/>
                  </a:lnTo>
                  <a:lnTo>
                    <a:pt x="109636" y="9307"/>
                  </a:lnTo>
                  <a:lnTo>
                    <a:pt x="109636" y="9716"/>
                  </a:lnTo>
                  <a:lnTo>
                    <a:pt x="110148" y="9307"/>
                  </a:lnTo>
                  <a:lnTo>
                    <a:pt x="110148" y="8795"/>
                  </a:lnTo>
                  <a:lnTo>
                    <a:pt x="109739" y="9000"/>
                  </a:lnTo>
                  <a:lnTo>
                    <a:pt x="110148" y="8591"/>
                  </a:lnTo>
                  <a:lnTo>
                    <a:pt x="108205" y="8080"/>
                  </a:lnTo>
                  <a:lnTo>
                    <a:pt x="108511" y="7977"/>
                  </a:lnTo>
                  <a:lnTo>
                    <a:pt x="108307" y="7670"/>
                  </a:lnTo>
                  <a:lnTo>
                    <a:pt x="107284" y="7773"/>
                  </a:lnTo>
                  <a:lnTo>
                    <a:pt x="107284" y="7773"/>
                  </a:lnTo>
                  <a:lnTo>
                    <a:pt x="108211" y="7587"/>
                  </a:lnTo>
                  <a:lnTo>
                    <a:pt x="108211" y="7587"/>
                  </a:lnTo>
                  <a:lnTo>
                    <a:pt x="106875" y="7466"/>
                  </a:lnTo>
                  <a:lnTo>
                    <a:pt x="107489" y="7364"/>
                  </a:lnTo>
                  <a:lnTo>
                    <a:pt x="107080" y="7159"/>
                  </a:lnTo>
                  <a:lnTo>
                    <a:pt x="108716" y="7159"/>
                  </a:lnTo>
                  <a:lnTo>
                    <a:pt x="108307" y="6852"/>
                  </a:lnTo>
                  <a:lnTo>
                    <a:pt x="111375" y="7159"/>
                  </a:lnTo>
                  <a:lnTo>
                    <a:pt x="111068" y="6750"/>
                  </a:lnTo>
                  <a:lnTo>
                    <a:pt x="110352" y="6750"/>
                  </a:lnTo>
                  <a:lnTo>
                    <a:pt x="110352" y="6545"/>
                  </a:lnTo>
                  <a:lnTo>
                    <a:pt x="110659" y="6239"/>
                  </a:lnTo>
                  <a:lnTo>
                    <a:pt x="110557" y="6545"/>
                  </a:lnTo>
                  <a:lnTo>
                    <a:pt x="112295" y="6443"/>
                  </a:lnTo>
                  <a:lnTo>
                    <a:pt x="111989" y="6034"/>
                  </a:lnTo>
                  <a:lnTo>
                    <a:pt x="111273" y="6239"/>
                  </a:lnTo>
                  <a:lnTo>
                    <a:pt x="111273" y="5830"/>
                  </a:lnTo>
                  <a:lnTo>
                    <a:pt x="110557" y="5830"/>
                  </a:lnTo>
                  <a:lnTo>
                    <a:pt x="111784" y="5727"/>
                  </a:lnTo>
                  <a:lnTo>
                    <a:pt x="112091" y="5830"/>
                  </a:lnTo>
                  <a:lnTo>
                    <a:pt x="112193" y="5011"/>
                  </a:lnTo>
                  <a:lnTo>
                    <a:pt x="111375" y="4909"/>
                  </a:lnTo>
                  <a:lnTo>
                    <a:pt x="111068" y="4705"/>
                  </a:lnTo>
                  <a:lnTo>
                    <a:pt x="110659" y="4602"/>
                  </a:lnTo>
                  <a:lnTo>
                    <a:pt x="113011" y="4500"/>
                  </a:lnTo>
                  <a:lnTo>
                    <a:pt x="113216" y="4091"/>
                  </a:lnTo>
                  <a:lnTo>
                    <a:pt x="111989" y="3886"/>
                  </a:lnTo>
                  <a:lnTo>
                    <a:pt x="112807" y="3886"/>
                  </a:lnTo>
                  <a:lnTo>
                    <a:pt x="111580" y="3784"/>
                  </a:lnTo>
                  <a:lnTo>
                    <a:pt x="112091" y="3170"/>
                  </a:lnTo>
                  <a:lnTo>
                    <a:pt x="111989" y="3068"/>
                  </a:lnTo>
                  <a:lnTo>
                    <a:pt x="113114" y="2557"/>
                  </a:lnTo>
                  <a:lnTo>
                    <a:pt x="112909" y="2352"/>
                  </a:lnTo>
                  <a:lnTo>
                    <a:pt x="113216" y="1943"/>
                  </a:lnTo>
                  <a:lnTo>
                    <a:pt x="115261" y="1841"/>
                  </a:lnTo>
                  <a:lnTo>
                    <a:pt x="114750" y="1739"/>
                  </a:lnTo>
                  <a:lnTo>
                    <a:pt x="116284" y="1534"/>
                  </a:lnTo>
                  <a:lnTo>
                    <a:pt x="116080" y="1432"/>
                  </a:lnTo>
                  <a:lnTo>
                    <a:pt x="117818" y="1125"/>
                  </a:lnTo>
                  <a:lnTo>
                    <a:pt x="111273" y="1636"/>
                  </a:lnTo>
                  <a:lnTo>
                    <a:pt x="111273" y="1636"/>
                  </a:lnTo>
                  <a:lnTo>
                    <a:pt x="112398" y="1125"/>
                  </a:lnTo>
                  <a:lnTo>
                    <a:pt x="107898" y="818"/>
                  </a:lnTo>
                  <a:lnTo>
                    <a:pt x="112500" y="409"/>
                  </a:lnTo>
                  <a:lnTo>
                    <a:pt x="106977" y="205"/>
                  </a:lnTo>
                  <a:lnTo>
                    <a:pt x="110352" y="0"/>
                  </a:lnTo>
                  <a:close/>
                  <a:moveTo>
                    <a:pt x="5114" y="22807"/>
                  </a:moveTo>
                  <a:lnTo>
                    <a:pt x="5069" y="22823"/>
                  </a:lnTo>
                  <a:lnTo>
                    <a:pt x="5069" y="22823"/>
                  </a:lnTo>
                  <a:lnTo>
                    <a:pt x="5011" y="22909"/>
                  </a:lnTo>
                  <a:lnTo>
                    <a:pt x="5114" y="22807"/>
                  </a:lnTo>
                  <a:close/>
                  <a:moveTo>
                    <a:pt x="133057" y="23011"/>
                  </a:moveTo>
                  <a:lnTo>
                    <a:pt x="132955" y="23216"/>
                  </a:lnTo>
                  <a:lnTo>
                    <a:pt x="132443" y="23216"/>
                  </a:lnTo>
                  <a:lnTo>
                    <a:pt x="132955" y="23727"/>
                  </a:lnTo>
                  <a:lnTo>
                    <a:pt x="133261" y="23727"/>
                  </a:lnTo>
                  <a:lnTo>
                    <a:pt x="133568" y="23216"/>
                  </a:lnTo>
                  <a:lnTo>
                    <a:pt x="133057" y="23011"/>
                  </a:lnTo>
                  <a:close/>
                  <a:moveTo>
                    <a:pt x="1125" y="23625"/>
                  </a:moveTo>
                  <a:lnTo>
                    <a:pt x="102" y="24034"/>
                  </a:lnTo>
                  <a:lnTo>
                    <a:pt x="1120" y="23634"/>
                  </a:lnTo>
                  <a:lnTo>
                    <a:pt x="1120" y="23634"/>
                  </a:lnTo>
                  <a:lnTo>
                    <a:pt x="1125" y="23625"/>
                  </a:lnTo>
                  <a:close/>
                  <a:moveTo>
                    <a:pt x="102" y="24034"/>
                  </a:moveTo>
                  <a:lnTo>
                    <a:pt x="102" y="24034"/>
                  </a:lnTo>
                  <a:lnTo>
                    <a:pt x="102" y="24034"/>
                  </a:lnTo>
                  <a:close/>
                  <a:moveTo>
                    <a:pt x="138170" y="24136"/>
                  </a:moveTo>
                  <a:lnTo>
                    <a:pt x="138375" y="24239"/>
                  </a:lnTo>
                  <a:lnTo>
                    <a:pt x="138477" y="24239"/>
                  </a:lnTo>
                  <a:lnTo>
                    <a:pt x="138170" y="24136"/>
                  </a:lnTo>
                  <a:close/>
                  <a:moveTo>
                    <a:pt x="118534" y="23523"/>
                  </a:moveTo>
                  <a:lnTo>
                    <a:pt x="118636" y="23625"/>
                  </a:lnTo>
                  <a:lnTo>
                    <a:pt x="118330" y="23932"/>
                  </a:lnTo>
                  <a:lnTo>
                    <a:pt x="118330" y="23727"/>
                  </a:lnTo>
                  <a:lnTo>
                    <a:pt x="117818" y="23830"/>
                  </a:lnTo>
                  <a:lnTo>
                    <a:pt x="117511" y="24239"/>
                  </a:lnTo>
                  <a:lnTo>
                    <a:pt x="117920" y="24239"/>
                  </a:lnTo>
                  <a:lnTo>
                    <a:pt x="117614" y="24648"/>
                  </a:lnTo>
                  <a:lnTo>
                    <a:pt x="116489" y="24750"/>
                  </a:lnTo>
                  <a:lnTo>
                    <a:pt x="116591" y="24852"/>
                  </a:lnTo>
                  <a:lnTo>
                    <a:pt x="116591" y="25057"/>
                  </a:lnTo>
                  <a:lnTo>
                    <a:pt x="116795" y="24955"/>
                  </a:lnTo>
                  <a:lnTo>
                    <a:pt x="116693" y="25261"/>
                  </a:lnTo>
                  <a:lnTo>
                    <a:pt x="116386" y="25364"/>
                  </a:lnTo>
                  <a:lnTo>
                    <a:pt x="116386" y="25466"/>
                  </a:lnTo>
                  <a:lnTo>
                    <a:pt x="116591" y="25466"/>
                  </a:lnTo>
                  <a:lnTo>
                    <a:pt x="116591" y="25568"/>
                  </a:lnTo>
                  <a:lnTo>
                    <a:pt x="117307" y="25670"/>
                  </a:lnTo>
                  <a:lnTo>
                    <a:pt x="116489" y="26284"/>
                  </a:lnTo>
                  <a:lnTo>
                    <a:pt x="116489" y="26284"/>
                  </a:lnTo>
                  <a:lnTo>
                    <a:pt x="117409" y="26182"/>
                  </a:lnTo>
                  <a:lnTo>
                    <a:pt x="116489" y="26489"/>
                  </a:lnTo>
                  <a:lnTo>
                    <a:pt x="116591" y="26591"/>
                  </a:lnTo>
                  <a:lnTo>
                    <a:pt x="116080" y="26693"/>
                  </a:lnTo>
                  <a:lnTo>
                    <a:pt x="116489" y="26693"/>
                  </a:lnTo>
                  <a:lnTo>
                    <a:pt x="116080" y="27000"/>
                  </a:lnTo>
                  <a:lnTo>
                    <a:pt x="116693" y="27000"/>
                  </a:lnTo>
                  <a:lnTo>
                    <a:pt x="116284" y="27205"/>
                  </a:lnTo>
                  <a:lnTo>
                    <a:pt x="116284" y="27205"/>
                  </a:lnTo>
                  <a:lnTo>
                    <a:pt x="116693" y="27102"/>
                  </a:lnTo>
                  <a:lnTo>
                    <a:pt x="116489" y="27307"/>
                  </a:lnTo>
                  <a:lnTo>
                    <a:pt x="119250" y="26591"/>
                  </a:lnTo>
                  <a:lnTo>
                    <a:pt x="119148" y="26489"/>
                  </a:lnTo>
                  <a:lnTo>
                    <a:pt x="119455" y="24852"/>
                  </a:lnTo>
                  <a:lnTo>
                    <a:pt x="119352" y="24750"/>
                  </a:lnTo>
                  <a:lnTo>
                    <a:pt x="119966" y="24545"/>
                  </a:lnTo>
                  <a:lnTo>
                    <a:pt x="119864" y="24341"/>
                  </a:lnTo>
                  <a:lnTo>
                    <a:pt x="119659" y="24239"/>
                  </a:lnTo>
                  <a:lnTo>
                    <a:pt x="119455" y="23727"/>
                  </a:lnTo>
                  <a:lnTo>
                    <a:pt x="118636" y="23830"/>
                  </a:lnTo>
                  <a:lnTo>
                    <a:pt x="118841" y="23625"/>
                  </a:lnTo>
                  <a:lnTo>
                    <a:pt x="118534" y="23523"/>
                  </a:lnTo>
                  <a:close/>
                  <a:moveTo>
                    <a:pt x="121398" y="20455"/>
                  </a:moveTo>
                  <a:lnTo>
                    <a:pt x="120477" y="20761"/>
                  </a:lnTo>
                  <a:lnTo>
                    <a:pt x="119966" y="21682"/>
                  </a:lnTo>
                  <a:lnTo>
                    <a:pt x="119761" y="22091"/>
                  </a:lnTo>
                  <a:lnTo>
                    <a:pt x="119864" y="22091"/>
                  </a:lnTo>
                  <a:lnTo>
                    <a:pt x="119557" y="22295"/>
                  </a:lnTo>
                  <a:lnTo>
                    <a:pt x="120273" y="22193"/>
                  </a:lnTo>
                  <a:lnTo>
                    <a:pt x="119966" y="23523"/>
                  </a:lnTo>
                  <a:lnTo>
                    <a:pt x="120170" y="23011"/>
                  </a:lnTo>
                  <a:lnTo>
                    <a:pt x="120580" y="22807"/>
                  </a:lnTo>
                  <a:lnTo>
                    <a:pt x="120682" y="23011"/>
                  </a:lnTo>
                  <a:lnTo>
                    <a:pt x="120375" y="24239"/>
                  </a:lnTo>
                  <a:lnTo>
                    <a:pt x="121807" y="23932"/>
                  </a:lnTo>
                  <a:lnTo>
                    <a:pt x="122011" y="25568"/>
                  </a:lnTo>
                  <a:lnTo>
                    <a:pt x="120580" y="26080"/>
                  </a:lnTo>
                  <a:lnTo>
                    <a:pt x="120580" y="26080"/>
                  </a:lnTo>
                  <a:lnTo>
                    <a:pt x="120989" y="25977"/>
                  </a:lnTo>
                  <a:lnTo>
                    <a:pt x="121091" y="26284"/>
                  </a:lnTo>
                  <a:lnTo>
                    <a:pt x="120068" y="27000"/>
                  </a:lnTo>
                  <a:lnTo>
                    <a:pt x="120989" y="27205"/>
                  </a:lnTo>
                  <a:lnTo>
                    <a:pt x="120886" y="27307"/>
                  </a:lnTo>
                  <a:lnTo>
                    <a:pt x="121602" y="27409"/>
                  </a:lnTo>
                  <a:lnTo>
                    <a:pt x="122216" y="27102"/>
                  </a:lnTo>
                  <a:lnTo>
                    <a:pt x="121602" y="27614"/>
                  </a:lnTo>
                  <a:lnTo>
                    <a:pt x="120989" y="27614"/>
                  </a:lnTo>
                  <a:lnTo>
                    <a:pt x="119761" y="28739"/>
                  </a:lnTo>
                  <a:lnTo>
                    <a:pt x="120068" y="28841"/>
                  </a:lnTo>
                  <a:lnTo>
                    <a:pt x="120375" y="28534"/>
                  </a:lnTo>
                  <a:lnTo>
                    <a:pt x="121091" y="28534"/>
                  </a:lnTo>
                  <a:lnTo>
                    <a:pt x="121807" y="28125"/>
                  </a:lnTo>
                  <a:lnTo>
                    <a:pt x="122625" y="28227"/>
                  </a:lnTo>
                  <a:lnTo>
                    <a:pt x="122523" y="28125"/>
                  </a:lnTo>
                  <a:lnTo>
                    <a:pt x="123136" y="28023"/>
                  </a:lnTo>
                  <a:lnTo>
                    <a:pt x="123034" y="27920"/>
                  </a:lnTo>
                  <a:lnTo>
                    <a:pt x="124773" y="27920"/>
                  </a:lnTo>
                  <a:lnTo>
                    <a:pt x="125182" y="27409"/>
                  </a:lnTo>
                  <a:lnTo>
                    <a:pt x="124466" y="27409"/>
                  </a:lnTo>
                  <a:lnTo>
                    <a:pt x="125080" y="26898"/>
                  </a:lnTo>
                  <a:lnTo>
                    <a:pt x="125284" y="25977"/>
                  </a:lnTo>
                  <a:lnTo>
                    <a:pt x="124159" y="25977"/>
                  </a:lnTo>
                  <a:lnTo>
                    <a:pt x="123648" y="25159"/>
                  </a:lnTo>
                  <a:lnTo>
                    <a:pt x="124261" y="25261"/>
                  </a:lnTo>
                  <a:lnTo>
                    <a:pt x="124261" y="25261"/>
                  </a:lnTo>
                  <a:lnTo>
                    <a:pt x="124057" y="24750"/>
                  </a:lnTo>
                  <a:lnTo>
                    <a:pt x="123239" y="24239"/>
                  </a:lnTo>
                  <a:lnTo>
                    <a:pt x="122932" y="23420"/>
                  </a:lnTo>
                  <a:lnTo>
                    <a:pt x="121295" y="22807"/>
                  </a:lnTo>
                  <a:lnTo>
                    <a:pt x="122011" y="22705"/>
                  </a:lnTo>
                  <a:lnTo>
                    <a:pt x="121705" y="22602"/>
                  </a:lnTo>
                  <a:lnTo>
                    <a:pt x="122318" y="22295"/>
                  </a:lnTo>
                  <a:lnTo>
                    <a:pt x="122830" y="21580"/>
                  </a:lnTo>
                  <a:lnTo>
                    <a:pt x="121091" y="21375"/>
                  </a:lnTo>
                  <a:lnTo>
                    <a:pt x="121295" y="21170"/>
                  </a:lnTo>
                  <a:lnTo>
                    <a:pt x="121193" y="21170"/>
                  </a:lnTo>
                  <a:lnTo>
                    <a:pt x="121807" y="20659"/>
                  </a:lnTo>
                  <a:lnTo>
                    <a:pt x="121398" y="20455"/>
                  </a:lnTo>
                  <a:close/>
                  <a:moveTo>
                    <a:pt x="23830" y="27920"/>
                  </a:moveTo>
                  <a:lnTo>
                    <a:pt x="23523" y="28330"/>
                  </a:lnTo>
                  <a:lnTo>
                    <a:pt x="24034" y="28227"/>
                  </a:lnTo>
                  <a:lnTo>
                    <a:pt x="23932" y="28432"/>
                  </a:lnTo>
                  <a:lnTo>
                    <a:pt x="23523" y="28534"/>
                  </a:lnTo>
                  <a:lnTo>
                    <a:pt x="23625" y="28534"/>
                  </a:lnTo>
                  <a:lnTo>
                    <a:pt x="23420" y="28739"/>
                  </a:lnTo>
                  <a:lnTo>
                    <a:pt x="23830" y="28739"/>
                  </a:lnTo>
                  <a:lnTo>
                    <a:pt x="23932" y="28636"/>
                  </a:lnTo>
                  <a:lnTo>
                    <a:pt x="24034" y="28943"/>
                  </a:lnTo>
                  <a:lnTo>
                    <a:pt x="24443" y="29148"/>
                  </a:lnTo>
                  <a:lnTo>
                    <a:pt x="24034" y="29455"/>
                  </a:lnTo>
                  <a:lnTo>
                    <a:pt x="24443" y="29455"/>
                  </a:lnTo>
                  <a:lnTo>
                    <a:pt x="24341" y="29557"/>
                  </a:lnTo>
                  <a:lnTo>
                    <a:pt x="24545" y="29659"/>
                  </a:lnTo>
                  <a:lnTo>
                    <a:pt x="24341" y="29761"/>
                  </a:lnTo>
                  <a:lnTo>
                    <a:pt x="25261" y="29557"/>
                  </a:lnTo>
                  <a:lnTo>
                    <a:pt x="25057" y="30273"/>
                  </a:lnTo>
                  <a:lnTo>
                    <a:pt x="25057" y="30273"/>
                  </a:lnTo>
                  <a:lnTo>
                    <a:pt x="25875" y="30170"/>
                  </a:lnTo>
                  <a:lnTo>
                    <a:pt x="25466" y="28534"/>
                  </a:lnTo>
                  <a:lnTo>
                    <a:pt x="23830" y="27920"/>
                  </a:lnTo>
                  <a:close/>
                  <a:moveTo>
                    <a:pt x="25875" y="30170"/>
                  </a:moveTo>
                  <a:lnTo>
                    <a:pt x="25875" y="30273"/>
                  </a:lnTo>
                  <a:lnTo>
                    <a:pt x="25977" y="30170"/>
                  </a:lnTo>
                  <a:close/>
                  <a:moveTo>
                    <a:pt x="72102" y="30989"/>
                  </a:moveTo>
                  <a:lnTo>
                    <a:pt x="72146" y="31003"/>
                  </a:lnTo>
                  <a:lnTo>
                    <a:pt x="72146" y="31003"/>
                  </a:lnTo>
                  <a:lnTo>
                    <a:pt x="72205" y="30989"/>
                  </a:lnTo>
                  <a:close/>
                  <a:moveTo>
                    <a:pt x="25568" y="31398"/>
                  </a:moveTo>
                  <a:lnTo>
                    <a:pt x="25364" y="31500"/>
                  </a:lnTo>
                  <a:lnTo>
                    <a:pt x="25364" y="31500"/>
                  </a:lnTo>
                  <a:lnTo>
                    <a:pt x="25466" y="31398"/>
                  </a:lnTo>
                  <a:close/>
                  <a:moveTo>
                    <a:pt x="80386" y="31500"/>
                  </a:moveTo>
                  <a:lnTo>
                    <a:pt x="80386" y="31500"/>
                  </a:lnTo>
                  <a:lnTo>
                    <a:pt x="80386" y="31500"/>
                  </a:lnTo>
                  <a:close/>
                  <a:moveTo>
                    <a:pt x="80693" y="27307"/>
                  </a:moveTo>
                  <a:lnTo>
                    <a:pt x="80182" y="27409"/>
                  </a:lnTo>
                  <a:lnTo>
                    <a:pt x="78136" y="29864"/>
                  </a:lnTo>
                  <a:lnTo>
                    <a:pt x="77625" y="29966"/>
                  </a:lnTo>
                  <a:lnTo>
                    <a:pt x="77318" y="30170"/>
                  </a:lnTo>
                  <a:lnTo>
                    <a:pt x="77420" y="30068"/>
                  </a:lnTo>
                  <a:lnTo>
                    <a:pt x="77011" y="30273"/>
                  </a:lnTo>
                  <a:lnTo>
                    <a:pt x="77727" y="30273"/>
                  </a:lnTo>
                  <a:lnTo>
                    <a:pt x="76705" y="30989"/>
                  </a:lnTo>
                  <a:lnTo>
                    <a:pt x="79466" y="30989"/>
                  </a:lnTo>
                  <a:lnTo>
                    <a:pt x="79159" y="31295"/>
                  </a:lnTo>
                  <a:lnTo>
                    <a:pt x="80284" y="31193"/>
                  </a:lnTo>
                  <a:lnTo>
                    <a:pt x="79261" y="32011"/>
                  </a:lnTo>
                  <a:lnTo>
                    <a:pt x="80489" y="31295"/>
                  </a:lnTo>
                  <a:lnTo>
                    <a:pt x="80386" y="31500"/>
                  </a:lnTo>
                  <a:lnTo>
                    <a:pt x="80795" y="30989"/>
                  </a:lnTo>
                  <a:lnTo>
                    <a:pt x="81000" y="31398"/>
                  </a:lnTo>
                  <a:lnTo>
                    <a:pt x="80591" y="32011"/>
                  </a:lnTo>
                  <a:lnTo>
                    <a:pt x="81102" y="31705"/>
                  </a:lnTo>
                  <a:lnTo>
                    <a:pt x="81000" y="32216"/>
                  </a:lnTo>
                  <a:lnTo>
                    <a:pt x="81000" y="32216"/>
                  </a:lnTo>
                  <a:lnTo>
                    <a:pt x="81409" y="32114"/>
                  </a:lnTo>
                  <a:lnTo>
                    <a:pt x="81920" y="31091"/>
                  </a:lnTo>
                  <a:lnTo>
                    <a:pt x="81511" y="31398"/>
                  </a:lnTo>
                  <a:lnTo>
                    <a:pt x="81920" y="30682"/>
                  </a:lnTo>
                  <a:lnTo>
                    <a:pt x="81205" y="31193"/>
                  </a:lnTo>
                  <a:lnTo>
                    <a:pt x="81205" y="31193"/>
                  </a:lnTo>
                  <a:lnTo>
                    <a:pt x="81307" y="30784"/>
                  </a:lnTo>
                  <a:lnTo>
                    <a:pt x="81102" y="30784"/>
                  </a:lnTo>
                  <a:lnTo>
                    <a:pt x="81920" y="30170"/>
                  </a:lnTo>
                  <a:lnTo>
                    <a:pt x="81920" y="30170"/>
                  </a:lnTo>
                  <a:lnTo>
                    <a:pt x="81000" y="30477"/>
                  </a:lnTo>
                  <a:lnTo>
                    <a:pt x="81409" y="30170"/>
                  </a:lnTo>
                  <a:lnTo>
                    <a:pt x="81205" y="30068"/>
                  </a:lnTo>
                  <a:lnTo>
                    <a:pt x="81307" y="29966"/>
                  </a:lnTo>
                  <a:lnTo>
                    <a:pt x="81102" y="30068"/>
                  </a:lnTo>
                  <a:lnTo>
                    <a:pt x="81716" y="29557"/>
                  </a:lnTo>
                  <a:lnTo>
                    <a:pt x="81000" y="29455"/>
                  </a:lnTo>
                  <a:lnTo>
                    <a:pt x="81102" y="29250"/>
                  </a:lnTo>
                  <a:lnTo>
                    <a:pt x="80284" y="29761"/>
                  </a:lnTo>
                  <a:lnTo>
                    <a:pt x="80489" y="29250"/>
                  </a:lnTo>
                  <a:lnTo>
                    <a:pt x="80489" y="29250"/>
                  </a:lnTo>
                  <a:lnTo>
                    <a:pt x="80284" y="29455"/>
                  </a:lnTo>
                  <a:lnTo>
                    <a:pt x="80386" y="29352"/>
                  </a:lnTo>
                  <a:lnTo>
                    <a:pt x="79773" y="29352"/>
                  </a:lnTo>
                  <a:lnTo>
                    <a:pt x="79977" y="29148"/>
                  </a:lnTo>
                  <a:lnTo>
                    <a:pt x="79773" y="29250"/>
                  </a:lnTo>
                  <a:lnTo>
                    <a:pt x="80386" y="28841"/>
                  </a:lnTo>
                  <a:lnTo>
                    <a:pt x="79261" y="29250"/>
                  </a:lnTo>
                  <a:lnTo>
                    <a:pt x="80489" y="27716"/>
                  </a:lnTo>
                  <a:lnTo>
                    <a:pt x="80591" y="27511"/>
                  </a:lnTo>
                  <a:lnTo>
                    <a:pt x="80898" y="27307"/>
                  </a:lnTo>
                  <a:close/>
                  <a:moveTo>
                    <a:pt x="239523" y="32216"/>
                  </a:moveTo>
                  <a:lnTo>
                    <a:pt x="240239" y="32830"/>
                  </a:lnTo>
                  <a:lnTo>
                    <a:pt x="239727" y="32318"/>
                  </a:lnTo>
                  <a:lnTo>
                    <a:pt x="239523" y="32216"/>
                  </a:lnTo>
                  <a:close/>
                  <a:moveTo>
                    <a:pt x="232875" y="24443"/>
                  </a:moveTo>
                  <a:lnTo>
                    <a:pt x="232773" y="24648"/>
                  </a:lnTo>
                  <a:lnTo>
                    <a:pt x="233591" y="25159"/>
                  </a:lnTo>
                  <a:lnTo>
                    <a:pt x="233489" y="25261"/>
                  </a:lnTo>
                  <a:lnTo>
                    <a:pt x="233386" y="25364"/>
                  </a:lnTo>
                  <a:lnTo>
                    <a:pt x="234511" y="27102"/>
                  </a:lnTo>
                  <a:lnTo>
                    <a:pt x="239216" y="32932"/>
                  </a:lnTo>
                  <a:lnTo>
                    <a:pt x="239114" y="32114"/>
                  </a:lnTo>
                  <a:lnTo>
                    <a:pt x="239523" y="32216"/>
                  </a:lnTo>
                  <a:lnTo>
                    <a:pt x="239523" y="32216"/>
                  </a:lnTo>
                  <a:lnTo>
                    <a:pt x="238193" y="31091"/>
                  </a:lnTo>
                  <a:lnTo>
                    <a:pt x="237784" y="29557"/>
                  </a:lnTo>
                  <a:lnTo>
                    <a:pt x="239318" y="30170"/>
                  </a:lnTo>
                  <a:lnTo>
                    <a:pt x="232875" y="24443"/>
                  </a:lnTo>
                  <a:close/>
                  <a:moveTo>
                    <a:pt x="244841" y="33341"/>
                  </a:moveTo>
                  <a:lnTo>
                    <a:pt x="244330" y="33443"/>
                  </a:lnTo>
                  <a:lnTo>
                    <a:pt x="244432" y="33648"/>
                  </a:lnTo>
                  <a:lnTo>
                    <a:pt x="244125" y="34364"/>
                  </a:lnTo>
                  <a:lnTo>
                    <a:pt x="244125" y="34466"/>
                  </a:lnTo>
                  <a:lnTo>
                    <a:pt x="244330" y="33955"/>
                  </a:lnTo>
                  <a:lnTo>
                    <a:pt x="245045" y="33545"/>
                  </a:lnTo>
                  <a:lnTo>
                    <a:pt x="244841" y="33341"/>
                  </a:lnTo>
                  <a:close/>
                  <a:moveTo>
                    <a:pt x="243409" y="34466"/>
                  </a:moveTo>
                  <a:lnTo>
                    <a:pt x="243409" y="35080"/>
                  </a:lnTo>
                  <a:lnTo>
                    <a:pt x="243614" y="35284"/>
                  </a:lnTo>
                  <a:lnTo>
                    <a:pt x="243920" y="34466"/>
                  </a:lnTo>
                  <a:close/>
                  <a:moveTo>
                    <a:pt x="54102" y="29864"/>
                  </a:moveTo>
                  <a:lnTo>
                    <a:pt x="56352" y="30886"/>
                  </a:lnTo>
                  <a:lnTo>
                    <a:pt x="56045" y="31193"/>
                  </a:lnTo>
                  <a:lnTo>
                    <a:pt x="56250" y="31602"/>
                  </a:lnTo>
                  <a:lnTo>
                    <a:pt x="56045" y="31807"/>
                  </a:lnTo>
                  <a:lnTo>
                    <a:pt x="56250" y="32011"/>
                  </a:lnTo>
                  <a:lnTo>
                    <a:pt x="56045" y="32114"/>
                  </a:lnTo>
                  <a:lnTo>
                    <a:pt x="56148" y="32114"/>
                  </a:lnTo>
                  <a:lnTo>
                    <a:pt x="55943" y="32318"/>
                  </a:lnTo>
                  <a:lnTo>
                    <a:pt x="58193" y="32727"/>
                  </a:lnTo>
                  <a:lnTo>
                    <a:pt x="58091" y="32830"/>
                  </a:lnTo>
                  <a:lnTo>
                    <a:pt x="58500" y="32830"/>
                  </a:lnTo>
                  <a:lnTo>
                    <a:pt x="58500" y="32932"/>
                  </a:lnTo>
                  <a:lnTo>
                    <a:pt x="58909" y="33239"/>
                  </a:lnTo>
                  <a:lnTo>
                    <a:pt x="59114" y="34057"/>
                  </a:lnTo>
                  <a:lnTo>
                    <a:pt x="59216" y="34057"/>
                  </a:lnTo>
                  <a:lnTo>
                    <a:pt x="59216" y="34159"/>
                  </a:lnTo>
                  <a:lnTo>
                    <a:pt x="59011" y="34057"/>
                  </a:lnTo>
                  <a:lnTo>
                    <a:pt x="58807" y="34364"/>
                  </a:lnTo>
                  <a:lnTo>
                    <a:pt x="58091" y="34261"/>
                  </a:lnTo>
                  <a:lnTo>
                    <a:pt x="57989" y="34159"/>
                  </a:lnTo>
                  <a:lnTo>
                    <a:pt x="58193" y="33955"/>
                  </a:lnTo>
                  <a:lnTo>
                    <a:pt x="58091" y="33955"/>
                  </a:lnTo>
                  <a:lnTo>
                    <a:pt x="58091" y="33648"/>
                  </a:lnTo>
                  <a:lnTo>
                    <a:pt x="57682" y="33648"/>
                  </a:lnTo>
                  <a:lnTo>
                    <a:pt x="56250" y="35898"/>
                  </a:lnTo>
                  <a:lnTo>
                    <a:pt x="56045" y="34875"/>
                  </a:lnTo>
                  <a:lnTo>
                    <a:pt x="55330" y="35182"/>
                  </a:lnTo>
                  <a:lnTo>
                    <a:pt x="55330" y="35182"/>
                  </a:lnTo>
                  <a:lnTo>
                    <a:pt x="56352" y="33750"/>
                  </a:lnTo>
                  <a:lnTo>
                    <a:pt x="56250" y="33443"/>
                  </a:lnTo>
                  <a:lnTo>
                    <a:pt x="55330" y="33136"/>
                  </a:lnTo>
                  <a:lnTo>
                    <a:pt x="54409" y="34159"/>
                  </a:lnTo>
                  <a:lnTo>
                    <a:pt x="54614" y="33648"/>
                  </a:lnTo>
                  <a:lnTo>
                    <a:pt x="52568" y="36818"/>
                  </a:lnTo>
                  <a:lnTo>
                    <a:pt x="51545" y="37125"/>
                  </a:lnTo>
                  <a:lnTo>
                    <a:pt x="52773" y="34364"/>
                  </a:lnTo>
                  <a:lnTo>
                    <a:pt x="52364" y="34364"/>
                  </a:lnTo>
                  <a:lnTo>
                    <a:pt x="53693" y="32932"/>
                  </a:lnTo>
                  <a:lnTo>
                    <a:pt x="53693" y="33136"/>
                  </a:lnTo>
                  <a:lnTo>
                    <a:pt x="54102" y="32932"/>
                  </a:lnTo>
                  <a:lnTo>
                    <a:pt x="53898" y="33239"/>
                  </a:lnTo>
                  <a:lnTo>
                    <a:pt x="53898" y="33239"/>
                  </a:lnTo>
                  <a:lnTo>
                    <a:pt x="55125" y="32727"/>
                  </a:lnTo>
                  <a:lnTo>
                    <a:pt x="55534" y="32932"/>
                  </a:lnTo>
                  <a:lnTo>
                    <a:pt x="55636" y="32830"/>
                  </a:lnTo>
                  <a:lnTo>
                    <a:pt x="56250" y="32830"/>
                  </a:lnTo>
                  <a:lnTo>
                    <a:pt x="55534" y="32318"/>
                  </a:lnTo>
                  <a:lnTo>
                    <a:pt x="55739" y="32114"/>
                  </a:lnTo>
                  <a:lnTo>
                    <a:pt x="53693" y="32318"/>
                  </a:lnTo>
                  <a:lnTo>
                    <a:pt x="53591" y="32011"/>
                  </a:lnTo>
                  <a:lnTo>
                    <a:pt x="52977" y="32011"/>
                  </a:lnTo>
                  <a:lnTo>
                    <a:pt x="52977" y="31602"/>
                  </a:lnTo>
                  <a:lnTo>
                    <a:pt x="50830" y="32216"/>
                  </a:lnTo>
                  <a:lnTo>
                    <a:pt x="50830" y="31909"/>
                  </a:lnTo>
                  <a:lnTo>
                    <a:pt x="50011" y="32011"/>
                  </a:lnTo>
                  <a:lnTo>
                    <a:pt x="53489" y="30273"/>
                  </a:lnTo>
                  <a:lnTo>
                    <a:pt x="53489" y="30273"/>
                  </a:lnTo>
                  <a:lnTo>
                    <a:pt x="53693" y="30068"/>
                  </a:lnTo>
                  <a:lnTo>
                    <a:pt x="53898" y="30068"/>
                  </a:lnTo>
                  <a:lnTo>
                    <a:pt x="53591" y="30375"/>
                  </a:lnTo>
                  <a:lnTo>
                    <a:pt x="54102" y="30068"/>
                  </a:lnTo>
                  <a:lnTo>
                    <a:pt x="54102" y="29864"/>
                  </a:lnTo>
                  <a:close/>
                  <a:moveTo>
                    <a:pt x="131932" y="36000"/>
                  </a:moveTo>
                  <a:lnTo>
                    <a:pt x="131830" y="36205"/>
                  </a:lnTo>
                  <a:lnTo>
                    <a:pt x="131216" y="36511"/>
                  </a:lnTo>
                  <a:lnTo>
                    <a:pt x="131318" y="36614"/>
                  </a:lnTo>
                  <a:lnTo>
                    <a:pt x="131318" y="37023"/>
                  </a:lnTo>
                  <a:lnTo>
                    <a:pt x="131830" y="37432"/>
                  </a:lnTo>
                  <a:lnTo>
                    <a:pt x="131932" y="36000"/>
                  </a:lnTo>
                  <a:close/>
                  <a:moveTo>
                    <a:pt x="239216" y="33443"/>
                  </a:moveTo>
                  <a:lnTo>
                    <a:pt x="240341" y="35693"/>
                  </a:lnTo>
                  <a:lnTo>
                    <a:pt x="239625" y="35591"/>
                  </a:lnTo>
                  <a:lnTo>
                    <a:pt x="239625" y="36205"/>
                  </a:lnTo>
                  <a:lnTo>
                    <a:pt x="240750" y="37432"/>
                  </a:lnTo>
                  <a:lnTo>
                    <a:pt x="240750" y="37125"/>
                  </a:lnTo>
                  <a:lnTo>
                    <a:pt x="241159" y="37125"/>
                  </a:lnTo>
                  <a:lnTo>
                    <a:pt x="240239" y="36614"/>
                  </a:lnTo>
                  <a:lnTo>
                    <a:pt x="240341" y="36307"/>
                  </a:lnTo>
                  <a:lnTo>
                    <a:pt x="240750" y="36511"/>
                  </a:lnTo>
                  <a:lnTo>
                    <a:pt x="241364" y="36409"/>
                  </a:lnTo>
                  <a:lnTo>
                    <a:pt x="242795" y="36920"/>
                  </a:lnTo>
                  <a:lnTo>
                    <a:pt x="242693" y="36409"/>
                  </a:lnTo>
                  <a:lnTo>
                    <a:pt x="244023" y="35489"/>
                  </a:lnTo>
                  <a:lnTo>
                    <a:pt x="243716" y="35591"/>
                  </a:lnTo>
                  <a:lnTo>
                    <a:pt x="243205" y="35284"/>
                  </a:lnTo>
                  <a:lnTo>
                    <a:pt x="242898" y="34568"/>
                  </a:lnTo>
                  <a:lnTo>
                    <a:pt x="242284" y="34875"/>
                  </a:lnTo>
                  <a:lnTo>
                    <a:pt x="239216" y="33443"/>
                  </a:lnTo>
                  <a:close/>
                  <a:moveTo>
                    <a:pt x="143693" y="38659"/>
                  </a:moveTo>
                  <a:lnTo>
                    <a:pt x="144000" y="38864"/>
                  </a:lnTo>
                  <a:lnTo>
                    <a:pt x="143740" y="38678"/>
                  </a:lnTo>
                  <a:lnTo>
                    <a:pt x="143740" y="38678"/>
                  </a:lnTo>
                  <a:lnTo>
                    <a:pt x="143693" y="38659"/>
                  </a:lnTo>
                  <a:close/>
                  <a:moveTo>
                    <a:pt x="155250" y="31602"/>
                  </a:moveTo>
                  <a:lnTo>
                    <a:pt x="155148" y="31705"/>
                  </a:lnTo>
                  <a:lnTo>
                    <a:pt x="155659" y="31705"/>
                  </a:lnTo>
                  <a:lnTo>
                    <a:pt x="155148" y="32011"/>
                  </a:lnTo>
                  <a:lnTo>
                    <a:pt x="155148" y="32216"/>
                  </a:lnTo>
                  <a:lnTo>
                    <a:pt x="154636" y="32216"/>
                  </a:lnTo>
                  <a:lnTo>
                    <a:pt x="155250" y="32727"/>
                  </a:lnTo>
                  <a:lnTo>
                    <a:pt x="154943" y="32932"/>
                  </a:lnTo>
                  <a:lnTo>
                    <a:pt x="154739" y="33341"/>
                  </a:lnTo>
                  <a:lnTo>
                    <a:pt x="154023" y="33443"/>
                  </a:lnTo>
                  <a:lnTo>
                    <a:pt x="154125" y="33545"/>
                  </a:lnTo>
                  <a:lnTo>
                    <a:pt x="153920" y="33648"/>
                  </a:lnTo>
                  <a:lnTo>
                    <a:pt x="158318" y="36205"/>
                  </a:lnTo>
                  <a:lnTo>
                    <a:pt x="158318" y="37636"/>
                  </a:lnTo>
                  <a:lnTo>
                    <a:pt x="148398" y="37636"/>
                  </a:lnTo>
                  <a:lnTo>
                    <a:pt x="149011" y="38148"/>
                  </a:lnTo>
                  <a:lnTo>
                    <a:pt x="148193" y="38352"/>
                  </a:lnTo>
                  <a:lnTo>
                    <a:pt x="148398" y="38455"/>
                  </a:lnTo>
                  <a:lnTo>
                    <a:pt x="147477" y="38557"/>
                  </a:lnTo>
                  <a:lnTo>
                    <a:pt x="147273" y="38455"/>
                  </a:lnTo>
                  <a:lnTo>
                    <a:pt x="147273" y="38455"/>
                  </a:lnTo>
                  <a:lnTo>
                    <a:pt x="147375" y="38557"/>
                  </a:lnTo>
                  <a:lnTo>
                    <a:pt x="146761" y="38455"/>
                  </a:lnTo>
                  <a:lnTo>
                    <a:pt x="146045" y="38864"/>
                  </a:lnTo>
                  <a:lnTo>
                    <a:pt x="146045" y="38864"/>
                  </a:lnTo>
                  <a:lnTo>
                    <a:pt x="147580" y="37841"/>
                  </a:lnTo>
                  <a:lnTo>
                    <a:pt x="148091" y="37943"/>
                  </a:lnTo>
                  <a:lnTo>
                    <a:pt x="148091" y="37943"/>
                  </a:lnTo>
                  <a:lnTo>
                    <a:pt x="146864" y="36409"/>
                  </a:lnTo>
                  <a:lnTo>
                    <a:pt x="147682" y="34364"/>
                  </a:lnTo>
                  <a:lnTo>
                    <a:pt x="147886" y="33955"/>
                  </a:lnTo>
                  <a:lnTo>
                    <a:pt x="147886" y="34159"/>
                  </a:lnTo>
                  <a:lnTo>
                    <a:pt x="148295" y="33545"/>
                  </a:lnTo>
                  <a:lnTo>
                    <a:pt x="148193" y="33239"/>
                  </a:lnTo>
                  <a:lnTo>
                    <a:pt x="149523" y="32011"/>
                  </a:lnTo>
                  <a:lnTo>
                    <a:pt x="149830" y="32114"/>
                  </a:lnTo>
                  <a:lnTo>
                    <a:pt x="149625" y="31602"/>
                  </a:lnTo>
                  <a:lnTo>
                    <a:pt x="150443" y="32216"/>
                  </a:lnTo>
                  <a:lnTo>
                    <a:pt x="149625" y="32318"/>
                  </a:lnTo>
                  <a:lnTo>
                    <a:pt x="150341" y="32727"/>
                  </a:lnTo>
                  <a:lnTo>
                    <a:pt x="151159" y="32727"/>
                  </a:lnTo>
                  <a:lnTo>
                    <a:pt x="151261" y="33034"/>
                  </a:lnTo>
                  <a:lnTo>
                    <a:pt x="150545" y="33443"/>
                  </a:lnTo>
                  <a:lnTo>
                    <a:pt x="151466" y="33852"/>
                  </a:lnTo>
                  <a:lnTo>
                    <a:pt x="151466" y="34364"/>
                  </a:lnTo>
                  <a:lnTo>
                    <a:pt x="152080" y="34364"/>
                  </a:lnTo>
                  <a:lnTo>
                    <a:pt x="153102" y="33750"/>
                  </a:lnTo>
                  <a:lnTo>
                    <a:pt x="153614" y="33852"/>
                  </a:lnTo>
                  <a:lnTo>
                    <a:pt x="153818" y="33443"/>
                  </a:lnTo>
                  <a:lnTo>
                    <a:pt x="152795" y="33443"/>
                  </a:lnTo>
                  <a:lnTo>
                    <a:pt x="152386" y="32830"/>
                  </a:lnTo>
                  <a:lnTo>
                    <a:pt x="152591" y="32420"/>
                  </a:lnTo>
                  <a:lnTo>
                    <a:pt x="152489" y="32727"/>
                  </a:lnTo>
                  <a:lnTo>
                    <a:pt x="152489" y="32727"/>
                  </a:lnTo>
                  <a:lnTo>
                    <a:pt x="155250" y="31602"/>
                  </a:lnTo>
                  <a:close/>
                  <a:moveTo>
                    <a:pt x="144000" y="38864"/>
                  </a:moveTo>
                  <a:lnTo>
                    <a:pt x="144000" y="38864"/>
                  </a:lnTo>
                  <a:lnTo>
                    <a:pt x="144000" y="38864"/>
                  </a:lnTo>
                  <a:close/>
                  <a:moveTo>
                    <a:pt x="144000" y="38864"/>
                  </a:moveTo>
                  <a:lnTo>
                    <a:pt x="144000" y="38864"/>
                  </a:lnTo>
                  <a:lnTo>
                    <a:pt x="144000" y="38864"/>
                  </a:lnTo>
                  <a:close/>
                  <a:moveTo>
                    <a:pt x="131011" y="37943"/>
                  </a:moveTo>
                  <a:lnTo>
                    <a:pt x="131011" y="38250"/>
                  </a:lnTo>
                  <a:lnTo>
                    <a:pt x="131216" y="39580"/>
                  </a:lnTo>
                  <a:lnTo>
                    <a:pt x="132136" y="39682"/>
                  </a:lnTo>
                  <a:lnTo>
                    <a:pt x="132136" y="37943"/>
                  </a:lnTo>
                  <a:close/>
                  <a:moveTo>
                    <a:pt x="165580" y="31807"/>
                  </a:moveTo>
                  <a:lnTo>
                    <a:pt x="166091" y="32011"/>
                  </a:lnTo>
                  <a:lnTo>
                    <a:pt x="166295" y="31909"/>
                  </a:lnTo>
                  <a:lnTo>
                    <a:pt x="166705" y="31909"/>
                  </a:lnTo>
                  <a:lnTo>
                    <a:pt x="167420" y="33545"/>
                  </a:lnTo>
                  <a:lnTo>
                    <a:pt x="165886" y="33545"/>
                  </a:lnTo>
                  <a:lnTo>
                    <a:pt x="166193" y="34364"/>
                  </a:lnTo>
                  <a:lnTo>
                    <a:pt x="165273" y="34568"/>
                  </a:lnTo>
                  <a:lnTo>
                    <a:pt x="165682" y="34670"/>
                  </a:lnTo>
                  <a:lnTo>
                    <a:pt x="166398" y="35693"/>
                  </a:lnTo>
                  <a:lnTo>
                    <a:pt x="166705" y="35795"/>
                  </a:lnTo>
                  <a:lnTo>
                    <a:pt x="166909" y="36000"/>
                  </a:lnTo>
                  <a:lnTo>
                    <a:pt x="167420" y="36102"/>
                  </a:lnTo>
                  <a:lnTo>
                    <a:pt x="168136" y="37739"/>
                  </a:lnTo>
                  <a:lnTo>
                    <a:pt x="168136" y="36818"/>
                  </a:lnTo>
                  <a:lnTo>
                    <a:pt x="169670" y="37841"/>
                  </a:lnTo>
                  <a:lnTo>
                    <a:pt x="169466" y="38250"/>
                  </a:lnTo>
                  <a:lnTo>
                    <a:pt x="168239" y="37841"/>
                  </a:lnTo>
                  <a:lnTo>
                    <a:pt x="168648" y="39068"/>
                  </a:lnTo>
                  <a:lnTo>
                    <a:pt x="168955" y="38864"/>
                  </a:lnTo>
                  <a:lnTo>
                    <a:pt x="169159" y="39273"/>
                  </a:lnTo>
                  <a:lnTo>
                    <a:pt x="168852" y="39273"/>
                  </a:lnTo>
                  <a:lnTo>
                    <a:pt x="168852" y="39580"/>
                  </a:lnTo>
                  <a:lnTo>
                    <a:pt x="169261" y="39682"/>
                  </a:lnTo>
                  <a:lnTo>
                    <a:pt x="169773" y="42034"/>
                  </a:lnTo>
                  <a:lnTo>
                    <a:pt x="169977" y="42034"/>
                  </a:lnTo>
                  <a:lnTo>
                    <a:pt x="169773" y="42136"/>
                  </a:lnTo>
                  <a:lnTo>
                    <a:pt x="169773" y="42034"/>
                  </a:lnTo>
                  <a:lnTo>
                    <a:pt x="167420" y="42136"/>
                  </a:lnTo>
                  <a:lnTo>
                    <a:pt x="165580" y="41114"/>
                  </a:lnTo>
                  <a:lnTo>
                    <a:pt x="165375" y="39682"/>
                  </a:lnTo>
                  <a:lnTo>
                    <a:pt x="165375" y="39682"/>
                  </a:lnTo>
                  <a:lnTo>
                    <a:pt x="165477" y="39886"/>
                  </a:lnTo>
                  <a:lnTo>
                    <a:pt x="166295" y="38659"/>
                  </a:lnTo>
                  <a:lnTo>
                    <a:pt x="163227" y="35693"/>
                  </a:lnTo>
                  <a:lnTo>
                    <a:pt x="163227" y="35080"/>
                  </a:lnTo>
                  <a:lnTo>
                    <a:pt x="163125" y="35386"/>
                  </a:lnTo>
                  <a:lnTo>
                    <a:pt x="162307" y="34261"/>
                  </a:lnTo>
                  <a:lnTo>
                    <a:pt x="162409" y="34057"/>
                  </a:lnTo>
                  <a:lnTo>
                    <a:pt x="162511" y="34057"/>
                  </a:lnTo>
                  <a:lnTo>
                    <a:pt x="162614" y="33136"/>
                  </a:lnTo>
                  <a:lnTo>
                    <a:pt x="162818" y="33239"/>
                  </a:lnTo>
                  <a:lnTo>
                    <a:pt x="163636" y="32932"/>
                  </a:lnTo>
                  <a:lnTo>
                    <a:pt x="163534" y="32727"/>
                  </a:lnTo>
                  <a:lnTo>
                    <a:pt x="163943" y="32523"/>
                  </a:lnTo>
                  <a:lnTo>
                    <a:pt x="164045" y="32420"/>
                  </a:lnTo>
                  <a:lnTo>
                    <a:pt x="163943" y="32318"/>
                  </a:lnTo>
                  <a:lnTo>
                    <a:pt x="165580" y="31807"/>
                  </a:lnTo>
                  <a:close/>
                  <a:moveTo>
                    <a:pt x="137352" y="40602"/>
                  </a:moveTo>
                  <a:lnTo>
                    <a:pt x="135511" y="40807"/>
                  </a:lnTo>
                  <a:lnTo>
                    <a:pt x="134898" y="40705"/>
                  </a:lnTo>
                  <a:lnTo>
                    <a:pt x="137045" y="42239"/>
                  </a:lnTo>
                  <a:lnTo>
                    <a:pt x="137148" y="41932"/>
                  </a:lnTo>
                  <a:lnTo>
                    <a:pt x="137045" y="41625"/>
                  </a:lnTo>
                  <a:lnTo>
                    <a:pt x="137352" y="40602"/>
                  </a:lnTo>
                  <a:close/>
                  <a:moveTo>
                    <a:pt x="146659" y="43670"/>
                  </a:moveTo>
                  <a:lnTo>
                    <a:pt x="146148" y="43875"/>
                  </a:lnTo>
                  <a:lnTo>
                    <a:pt x="146250" y="43875"/>
                  </a:lnTo>
                  <a:lnTo>
                    <a:pt x="146659" y="43670"/>
                  </a:lnTo>
                  <a:close/>
                  <a:moveTo>
                    <a:pt x="144409" y="43364"/>
                  </a:moveTo>
                  <a:lnTo>
                    <a:pt x="144307" y="43466"/>
                  </a:lnTo>
                  <a:lnTo>
                    <a:pt x="144307" y="43773"/>
                  </a:lnTo>
                  <a:lnTo>
                    <a:pt x="145330" y="44080"/>
                  </a:lnTo>
                  <a:lnTo>
                    <a:pt x="146148" y="43875"/>
                  </a:lnTo>
                  <a:lnTo>
                    <a:pt x="146045" y="43670"/>
                  </a:lnTo>
                  <a:lnTo>
                    <a:pt x="144716" y="43568"/>
                  </a:lnTo>
                  <a:lnTo>
                    <a:pt x="144818" y="43466"/>
                  </a:lnTo>
                  <a:lnTo>
                    <a:pt x="144409" y="43364"/>
                  </a:lnTo>
                  <a:close/>
                  <a:moveTo>
                    <a:pt x="153614" y="43364"/>
                  </a:moveTo>
                  <a:lnTo>
                    <a:pt x="151773" y="43977"/>
                  </a:lnTo>
                  <a:lnTo>
                    <a:pt x="152489" y="44489"/>
                  </a:lnTo>
                  <a:lnTo>
                    <a:pt x="153307" y="44080"/>
                  </a:lnTo>
                  <a:lnTo>
                    <a:pt x="153614" y="43466"/>
                  </a:lnTo>
                  <a:lnTo>
                    <a:pt x="153614" y="43364"/>
                  </a:lnTo>
                  <a:close/>
                  <a:moveTo>
                    <a:pt x="241568" y="37534"/>
                  </a:moveTo>
                  <a:lnTo>
                    <a:pt x="241261" y="37636"/>
                  </a:lnTo>
                  <a:lnTo>
                    <a:pt x="241670" y="37739"/>
                  </a:lnTo>
                  <a:lnTo>
                    <a:pt x="241466" y="38045"/>
                  </a:lnTo>
                  <a:lnTo>
                    <a:pt x="240955" y="37636"/>
                  </a:lnTo>
                  <a:lnTo>
                    <a:pt x="241057" y="37943"/>
                  </a:lnTo>
                  <a:lnTo>
                    <a:pt x="240955" y="38148"/>
                  </a:lnTo>
                  <a:lnTo>
                    <a:pt x="241261" y="38864"/>
                  </a:lnTo>
                  <a:lnTo>
                    <a:pt x="241159" y="38864"/>
                  </a:lnTo>
                  <a:lnTo>
                    <a:pt x="241875" y="40807"/>
                  </a:lnTo>
                  <a:lnTo>
                    <a:pt x="241670" y="41114"/>
                  </a:lnTo>
                  <a:lnTo>
                    <a:pt x="241466" y="41727"/>
                  </a:lnTo>
                  <a:lnTo>
                    <a:pt x="240955" y="42136"/>
                  </a:lnTo>
                  <a:lnTo>
                    <a:pt x="240443" y="41932"/>
                  </a:lnTo>
                  <a:lnTo>
                    <a:pt x="240545" y="41420"/>
                  </a:lnTo>
                  <a:lnTo>
                    <a:pt x="240545" y="41420"/>
                  </a:lnTo>
                  <a:lnTo>
                    <a:pt x="240136" y="41727"/>
                  </a:lnTo>
                  <a:lnTo>
                    <a:pt x="240341" y="43261"/>
                  </a:lnTo>
                  <a:lnTo>
                    <a:pt x="239727" y="43466"/>
                  </a:lnTo>
                  <a:lnTo>
                    <a:pt x="239420" y="43364"/>
                  </a:lnTo>
                  <a:lnTo>
                    <a:pt x="237477" y="43977"/>
                  </a:lnTo>
                  <a:lnTo>
                    <a:pt x="236761" y="45102"/>
                  </a:lnTo>
                  <a:lnTo>
                    <a:pt x="237886" y="45205"/>
                  </a:lnTo>
                  <a:lnTo>
                    <a:pt x="237784" y="44795"/>
                  </a:lnTo>
                  <a:lnTo>
                    <a:pt x="240341" y="44489"/>
                  </a:lnTo>
                  <a:lnTo>
                    <a:pt x="240239" y="44795"/>
                  </a:lnTo>
                  <a:lnTo>
                    <a:pt x="240955" y="45614"/>
                  </a:lnTo>
                  <a:lnTo>
                    <a:pt x="241670" y="44795"/>
                  </a:lnTo>
                  <a:lnTo>
                    <a:pt x="241261" y="44080"/>
                  </a:lnTo>
                  <a:lnTo>
                    <a:pt x="241568" y="44386"/>
                  </a:lnTo>
                  <a:lnTo>
                    <a:pt x="241568" y="44182"/>
                  </a:lnTo>
                  <a:lnTo>
                    <a:pt x="241670" y="44489"/>
                  </a:lnTo>
                  <a:lnTo>
                    <a:pt x="242693" y="44489"/>
                  </a:lnTo>
                  <a:lnTo>
                    <a:pt x="243102" y="43977"/>
                  </a:lnTo>
                  <a:lnTo>
                    <a:pt x="243307" y="43977"/>
                  </a:lnTo>
                  <a:lnTo>
                    <a:pt x="243409" y="43773"/>
                  </a:lnTo>
                  <a:lnTo>
                    <a:pt x="243614" y="43773"/>
                  </a:lnTo>
                  <a:lnTo>
                    <a:pt x="243511" y="43364"/>
                  </a:lnTo>
                  <a:lnTo>
                    <a:pt x="243818" y="43466"/>
                  </a:lnTo>
                  <a:lnTo>
                    <a:pt x="243818" y="43773"/>
                  </a:lnTo>
                  <a:lnTo>
                    <a:pt x="244023" y="44182"/>
                  </a:lnTo>
                  <a:lnTo>
                    <a:pt x="244432" y="43261"/>
                  </a:lnTo>
                  <a:lnTo>
                    <a:pt x="244023" y="42852"/>
                  </a:lnTo>
                  <a:lnTo>
                    <a:pt x="243205" y="40602"/>
                  </a:lnTo>
                  <a:lnTo>
                    <a:pt x="243511" y="40500"/>
                  </a:lnTo>
                  <a:lnTo>
                    <a:pt x="243409" y="39886"/>
                  </a:lnTo>
                  <a:lnTo>
                    <a:pt x="243409" y="39784"/>
                  </a:lnTo>
                  <a:lnTo>
                    <a:pt x="241568" y="37534"/>
                  </a:lnTo>
                  <a:close/>
                  <a:moveTo>
                    <a:pt x="238909" y="44795"/>
                  </a:moveTo>
                  <a:lnTo>
                    <a:pt x="238807" y="45102"/>
                  </a:lnTo>
                  <a:lnTo>
                    <a:pt x="238398" y="45000"/>
                  </a:lnTo>
                  <a:lnTo>
                    <a:pt x="238295" y="45307"/>
                  </a:lnTo>
                  <a:lnTo>
                    <a:pt x="237989" y="45716"/>
                  </a:lnTo>
                  <a:lnTo>
                    <a:pt x="238398" y="45920"/>
                  </a:lnTo>
                  <a:lnTo>
                    <a:pt x="238705" y="46330"/>
                  </a:lnTo>
                  <a:lnTo>
                    <a:pt x="239523" y="45614"/>
                  </a:lnTo>
                  <a:lnTo>
                    <a:pt x="239830" y="45818"/>
                  </a:lnTo>
                  <a:lnTo>
                    <a:pt x="240034" y="45307"/>
                  </a:lnTo>
                  <a:lnTo>
                    <a:pt x="239625" y="44795"/>
                  </a:lnTo>
                  <a:close/>
                  <a:moveTo>
                    <a:pt x="151875" y="47659"/>
                  </a:moveTo>
                  <a:lnTo>
                    <a:pt x="151773" y="47761"/>
                  </a:lnTo>
                  <a:lnTo>
                    <a:pt x="152080" y="47864"/>
                  </a:lnTo>
                  <a:lnTo>
                    <a:pt x="151875" y="47659"/>
                  </a:lnTo>
                  <a:close/>
                  <a:moveTo>
                    <a:pt x="236455" y="45307"/>
                  </a:moveTo>
                  <a:lnTo>
                    <a:pt x="236045" y="45614"/>
                  </a:lnTo>
                  <a:lnTo>
                    <a:pt x="236045" y="45818"/>
                  </a:lnTo>
                  <a:lnTo>
                    <a:pt x="235943" y="45716"/>
                  </a:lnTo>
                  <a:lnTo>
                    <a:pt x="236352" y="46227"/>
                  </a:lnTo>
                  <a:lnTo>
                    <a:pt x="236045" y="46023"/>
                  </a:lnTo>
                  <a:lnTo>
                    <a:pt x="236352" y="46534"/>
                  </a:lnTo>
                  <a:lnTo>
                    <a:pt x="236659" y="46227"/>
                  </a:lnTo>
                  <a:lnTo>
                    <a:pt x="236455" y="46023"/>
                  </a:lnTo>
                  <a:lnTo>
                    <a:pt x="236659" y="46125"/>
                  </a:lnTo>
                  <a:lnTo>
                    <a:pt x="236966" y="46534"/>
                  </a:lnTo>
                  <a:lnTo>
                    <a:pt x="237068" y="47761"/>
                  </a:lnTo>
                  <a:lnTo>
                    <a:pt x="237580" y="47966"/>
                  </a:lnTo>
                  <a:lnTo>
                    <a:pt x="237580" y="47455"/>
                  </a:lnTo>
                  <a:lnTo>
                    <a:pt x="237784" y="48170"/>
                  </a:lnTo>
                  <a:lnTo>
                    <a:pt x="237886" y="47966"/>
                  </a:lnTo>
                  <a:lnTo>
                    <a:pt x="237886" y="47761"/>
                  </a:lnTo>
                  <a:lnTo>
                    <a:pt x="238193" y="47761"/>
                  </a:lnTo>
                  <a:lnTo>
                    <a:pt x="237886" y="45818"/>
                  </a:lnTo>
                  <a:lnTo>
                    <a:pt x="237580" y="45818"/>
                  </a:lnTo>
                  <a:lnTo>
                    <a:pt x="237477" y="45409"/>
                  </a:lnTo>
                  <a:lnTo>
                    <a:pt x="237273" y="45511"/>
                  </a:lnTo>
                  <a:lnTo>
                    <a:pt x="236864" y="45307"/>
                  </a:lnTo>
                  <a:close/>
                  <a:moveTo>
                    <a:pt x="49602" y="49398"/>
                  </a:moveTo>
                  <a:lnTo>
                    <a:pt x="49705" y="49500"/>
                  </a:lnTo>
                  <a:lnTo>
                    <a:pt x="49655" y="49401"/>
                  </a:lnTo>
                  <a:lnTo>
                    <a:pt x="49655" y="49401"/>
                  </a:lnTo>
                  <a:lnTo>
                    <a:pt x="49602" y="49398"/>
                  </a:lnTo>
                  <a:close/>
                  <a:moveTo>
                    <a:pt x="53489" y="53386"/>
                  </a:moveTo>
                  <a:lnTo>
                    <a:pt x="53485" y="53390"/>
                  </a:lnTo>
                  <a:lnTo>
                    <a:pt x="53485" y="53390"/>
                  </a:lnTo>
                  <a:lnTo>
                    <a:pt x="53489" y="53489"/>
                  </a:lnTo>
                  <a:lnTo>
                    <a:pt x="53489" y="53386"/>
                  </a:lnTo>
                  <a:close/>
                  <a:moveTo>
                    <a:pt x="231648" y="54102"/>
                  </a:moveTo>
                  <a:lnTo>
                    <a:pt x="231239" y="54205"/>
                  </a:lnTo>
                  <a:lnTo>
                    <a:pt x="230625" y="55739"/>
                  </a:lnTo>
                  <a:lnTo>
                    <a:pt x="231648" y="57477"/>
                  </a:lnTo>
                  <a:lnTo>
                    <a:pt x="231852" y="54511"/>
                  </a:lnTo>
                  <a:lnTo>
                    <a:pt x="231648" y="54102"/>
                  </a:lnTo>
                  <a:close/>
                  <a:moveTo>
                    <a:pt x="46432" y="57886"/>
                  </a:moveTo>
                  <a:lnTo>
                    <a:pt x="46432" y="57989"/>
                  </a:lnTo>
                  <a:lnTo>
                    <a:pt x="46636" y="57886"/>
                  </a:lnTo>
                  <a:close/>
                  <a:moveTo>
                    <a:pt x="176216" y="59114"/>
                  </a:moveTo>
                  <a:lnTo>
                    <a:pt x="176216" y="59114"/>
                  </a:lnTo>
                  <a:lnTo>
                    <a:pt x="176216" y="59114"/>
                  </a:lnTo>
                  <a:close/>
                  <a:moveTo>
                    <a:pt x="52057" y="56250"/>
                  </a:moveTo>
                  <a:lnTo>
                    <a:pt x="49193" y="57170"/>
                  </a:lnTo>
                  <a:lnTo>
                    <a:pt x="49091" y="57375"/>
                  </a:lnTo>
                  <a:lnTo>
                    <a:pt x="48682" y="57580"/>
                  </a:lnTo>
                  <a:lnTo>
                    <a:pt x="48989" y="57477"/>
                  </a:lnTo>
                  <a:lnTo>
                    <a:pt x="48989" y="57682"/>
                  </a:lnTo>
                  <a:lnTo>
                    <a:pt x="51443" y="56761"/>
                  </a:lnTo>
                  <a:lnTo>
                    <a:pt x="51443" y="56761"/>
                  </a:lnTo>
                  <a:lnTo>
                    <a:pt x="51239" y="56966"/>
                  </a:lnTo>
                  <a:lnTo>
                    <a:pt x="54205" y="57886"/>
                  </a:lnTo>
                  <a:lnTo>
                    <a:pt x="54307" y="58500"/>
                  </a:lnTo>
                  <a:lnTo>
                    <a:pt x="55330" y="58807"/>
                  </a:lnTo>
                  <a:lnTo>
                    <a:pt x="54818" y="59625"/>
                  </a:lnTo>
                  <a:lnTo>
                    <a:pt x="54818" y="59625"/>
                  </a:lnTo>
                  <a:lnTo>
                    <a:pt x="57068" y="59420"/>
                  </a:lnTo>
                  <a:lnTo>
                    <a:pt x="57170" y="59523"/>
                  </a:lnTo>
                  <a:lnTo>
                    <a:pt x="57886" y="59420"/>
                  </a:lnTo>
                  <a:lnTo>
                    <a:pt x="57886" y="59114"/>
                  </a:lnTo>
                  <a:lnTo>
                    <a:pt x="55739" y="58091"/>
                  </a:lnTo>
                  <a:lnTo>
                    <a:pt x="55534" y="57886"/>
                  </a:lnTo>
                  <a:lnTo>
                    <a:pt x="55330" y="57784"/>
                  </a:lnTo>
                  <a:lnTo>
                    <a:pt x="55534" y="57784"/>
                  </a:lnTo>
                  <a:lnTo>
                    <a:pt x="55125" y="57580"/>
                  </a:lnTo>
                  <a:lnTo>
                    <a:pt x="55227" y="57682"/>
                  </a:lnTo>
                  <a:lnTo>
                    <a:pt x="52057" y="56250"/>
                  </a:lnTo>
                  <a:close/>
                  <a:moveTo>
                    <a:pt x="207307" y="59625"/>
                  </a:moveTo>
                  <a:lnTo>
                    <a:pt x="207307" y="59625"/>
                  </a:lnTo>
                  <a:lnTo>
                    <a:pt x="207307" y="59625"/>
                  </a:lnTo>
                  <a:close/>
                  <a:moveTo>
                    <a:pt x="222648" y="59420"/>
                  </a:moveTo>
                  <a:lnTo>
                    <a:pt x="222648" y="59523"/>
                  </a:lnTo>
                  <a:lnTo>
                    <a:pt x="221625" y="59727"/>
                  </a:lnTo>
                  <a:lnTo>
                    <a:pt x="221727" y="59727"/>
                  </a:lnTo>
                  <a:lnTo>
                    <a:pt x="221216" y="60341"/>
                  </a:lnTo>
                  <a:lnTo>
                    <a:pt x="221727" y="61159"/>
                  </a:lnTo>
                  <a:lnTo>
                    <a:pt x="222750" y="60852"/>
                  </a:lnTo>
                  <a:lnTo>
                    <a:pt x="223159" y="59932"/>
                  </a:lnTo>
                  <a:lnTo>
                    <a:pt x="222648" y="59420"/>
                  </a:lnTo>
                  <a:close/>
                  <a:moveTo>
                    <a:pt x="54511" y="60955"/>
                  </a:moveTo>
                  <a:lnTo>
                    <a:pt x="54205" y="61057"/>
                  </a:lnTo>
                  <a:lnTo>
                    <a:pt x="54614" y="61670"/>
                  </a:lnTo>
                  <a:lnTo>
                    <a:pt x="55023" y="61773"/>
                  </a:lnTo>
                  <a:lnTo>
                    <a:pt x="55534" y="61568"/>
                  </a:lnTo>
                  <a:lnTo>
                    <a:pt x="55943" y="61568"/>
                  </a:lnTo>
                  <a:lnTo>
                    <a:pt x="54511" y="60955"/>
                  </a:lnTo>
                  <a:close/>
                  <a:moveTo>
                    <a:pt x="58602" y="59727"/>
                  </a:moveTo>
                  <a:lnTo>
                    <a:pt x="59114" y="60034"/>
                  </a:lnTo>
                  <a:lnTo>
                    <a:pt x="59114" y="60443"/>
                  </a:lnTo>
                  <a:lnTo>
                    <a:pt x="59420" y="60955"/>
                  </a:lnTo>
                  <a:lnTo>
                    <a:pt x="59114" y="61057"/>
                  </a:lnTo>
                  <a:lnTo>
                    <a:pt x="57784" y="60852"/>
                  </a:lnTo>
                  <a:lnTo>
                    <a:pt x="57580" y="61159"/>
                  </a:lnTo>
                  <a:lnTo>
                    <a:pt x="57989" y="61466"/>
                  </a:lnTo>
                  <a:lnTo>
                    <a:pt x="59420" y="61261"/>
                  </a:lnTo>
                  <a:lnTo>
                    <a:pt x="59932" y="61568"/>
                  </a:lnTo>
                  <a:lnTo>
                    <a:pt x="60239" y="61875"/>
                  </a:lnTo>
                  <a:lnTo>
                    <a:pt x="60545" y="61261"/>
                  </a:lnTo>
                  <a:lnTo>
                    <a:pt x="62693" y="61261"/>
                  </a:lnTo>
                  <a:lnTo>
                    <a:pt x="63000" y="60750"/>
                  </a:lnTo>
                  <a:lnTo>
                    <a:pt x="61977" y="60341"/>
                  </a:lnTo>
                  <a:lnTo>
                    <a:pt x="62284" y="60239"/>
                  </a:lnTo>
                  <a:lnTo>
                    <a:pt x="58602" y="59727"/>
                  </a:lnTo>
                  <a:close/>
                  <a:moveTo>
                    <a:pt x="208739" y="63614"/>
                  </a:moveTo>
                  <a:lnTo>
                    <a:pt x="208739" y="63614"/>
                  </a:lnTo>
                  <a:lnTo>
                    <a:pt x="208739" y="63614"/>
                  </a:lnTo>
                  <a:close/>
                  <a:moveTo>
                    <a:pt x="48989" y="64227"/>
                  </a:moveTo>
                  <a:lnTo>
                    <a:pt x="48989" y="64330"/>
                  </a:lnTo>
                  <a:lnTo>
                    <a:pt x="49091" y="64432"/>
                  </a:lnTo>
                  <a:lnTo>
                    <a:pt x="49091" y="64432"/>
                  </a:lnTo>
                  <a:lnTo>
                    <a:pt x="48989" y="64227"/>
                  </a:lnTo>
                  <a:close/>
                  <a:moveTo>
                    <a:pt x="44182" y="66375"/>
                  </a:moveTo>
                  <a:lnTo>
                    <a:pt x="44386" y="66477"/>
                  </a:lnTo>
                  <a:lnTo>
                    <a:pt x="44386" y="66477"/>
                  </a:lnTo>
                  <a:lnTo>
                    <a:pt x="44284" y="66375"/>
                  </a:lnTo>
                  <a:close/>
                  <a:moveTo>
                    <a:pt x="232261" y="60955"/>
                  </a:moveTo>
                  <a:lnTo>
                    <a:pt x="231955" y="61670"/>
                  </a:lnTo>
                  <a:lnTo>
                    <a:pt x="232159" y="63511"/>
                  </a:lnTo>
                  <a:lnTo>
                    <a:pt x="231648" y="63307"/>
                  </a:lnTo>
                  <a:lnTo>
                    <a:pt x="232364" y="64943"/>
                  </a:lnTo>
                  <a:lnTo>
                    <a:pt x="232568" y="64739"/>
                  </a:lnTo>
                  <a:lnTo>
                    <a:pt x="232977" y="65148"/>
                  </a:lnTo>
                  <a:lnTo>
                    <a:pt x="232773" y="65864"/>
                  </a:lnTo>
                  <a:lnTo>
                    <a:pt x="233591" y="65966"/>
                  </a:lnTo>
                  <a:lnTo>
                    <a:pt x="233795" y="65659"/>
                  </a:lnTo>
                  <a:lnTo>
                    <a:pt x="234716" y="66375"/>
                  </a:lnTo>
                  <a:lnTo>
                    <a:pt x="234409" y="65761"/>
                  </a:lnTo>
                  <a:lnTo>
                    <a:pt x="236045" y="67091"/>
                  </a:lnTo>
                  <a:lnTo>
                    <a:pt x="235432" y="65966"/>
                  </a:lnTo>
                  <a:lnTo>
                    <a:pt x="235739" y="65864"/>
                  </a:lnTo>
                  <a:lnTo>
                    <a:pt x="235125" y="65659"/>
                  </a:lnTo>
                  <a:lnTo>
                    <a:pt x="235125" y="65864"/>
                  </a:lnTo>
                  <a:lnTo>
                    <a:pt x="234511" y="65352"/>
                  </a:lnTo>
                  <a:lnTo>
                    <a:pt x="234205" y="65455"/>
                  </a:lnTo>
                  <a:lnTo>
                    <a:pt x="234307" y="65659"/>
                  </a:lnTo>
                  <a:lnTo>
                    <a:pt x="233284" y="64330"/>
                  </a:lnTo>
                  <a:lnTo>
                    <a:pt x="233489" y="63511"/>
                  </a:lnTo>
                  <a:lnTo>
                    <a:pt x="233795" y="63205"/>
                  </a:lnTo>
                  <a:lnTo>
                    <a:pt x="233591" y="61159"/>
                  </a:lnTo>
                  <a:lnTo>
                    <a:pt x="233284" y="61261"/>
                  </a:lnTo>
                  <a:lnTo>
                    <a:pt x="232261" y="60955"/>
                  </a:lnTo>
                  <a:close/>
                  <a:moveTo>
                    <a:pt x="236045" y="67091"/>
                  </a:moveTo>
                  <a:lnTo>
                    <a:pt x="236045" y="67091"/>
                  </a:lnTo>
                  <a:lnTo>
                    <a:pt x="236045" y="67091"/>
                  </a:lnTo>
                  <a:close/>
                  <a:moveTo>
                    <a:pt x="232670" y="66170"/>
                  </a:moveTo>
                  <a:lnTo>
                    <a:pt x="233693" y="67398"/>
                  </a:lnTo>
                  <a:lnTo>
                    <a:pt x="233693" y="66580"/>
                  </a:lnTo>
                  <a:lnTo>
                    <a:pt x="233080" y="66170"/>
                  </a:lnTo>
                  <a:close/>
                  <a:moveTo>
                    <a:pt x="222750" y="67705"/>
                  </a:moveTo>
                  <a:lnTo>
                    <a:pt x="222750" y="67705"/>
                  </a:lnTo>
                  <a:lnTo>
                    <a:pt x="222750" y="67705"/>
                  </a:lnTo>
                  <a:close/>
                  <a:moveTo>
                    <a:pt x="222750" y="67705"/>
                  </a:moveTo>
                  <a:lnTo>
                    <a:pt x="222737" y="67743"/>
                  </a:lnTo>
                  <a:lnTo>
                    <a:pt x="222750" y="67807"/>
                  </a:lnTo>
                  <a:lnTo>
                    <a:pt x="222750" y="67705"/>
                  </a:lnTo>
                  <a:close/>
                  <a:moveTo>
                    <a:pt x="235330" y="67091"/>
                  </a:moveTo>
                  <a:lnTo>
                    <a:pt x="235330" y="67807"/>
                  </a:lnTo>
                  <a:lnTo>
                    <a:pt x="235739" y="67602"/>
                  </a:lnTo>
                  <a:lnTo>
                    <a:pt x="236148" y="67909"/>
                  </a:lnTo>
                  <a:lnTo>
                    <a:pt x="235534" y="67193"/>
                  </a:lnTo>
                  <a:lnTo>
                    <a:pt x="235330" y="67091"/>
                  </a:lnTo>
                  <a:close/>
                  <a:moveTo>
                    <a:pt x="236250" y="67091"/>
                  </a:moveTo>
                  <a:lnTo>
                    <a:pt x="237068" y="68420"/>
                  </a:lnTo>
                  <a:lnTo>
                    <a:pt x="237682" y="68625"/>
                  </a:lnTo>
                  <a:lnTo>
                    <a:pt x="237784" y="68625"/>
                  </a:lnTo>
                  <a:lnTo>
                    <a:pt x="237170" y="67295"/>
                  </a:lnTo>
                  <a:lnTo>
                    <a:pt x="236250" y="67091"/>
                  </a:lnTo>
                  <a:close/>
                  <a:moveTo>
                    <a:pt x="234307" y="67807"/>
                  </a:moveTo>
                  <a:lnTo>
                    <a:pt x="234205" y="67909"/>
                  </a:lnTo>
                  <a:lnTo>
                    <a:pt x="234409" y="68011"/>
                  </a:lnTo>
                  <a:lnTo>
                    <a:pt x="234409" y="69341"/>
                  </a:lnTo>
                  <a:lnTo>
                    <a:pt x="235330" y="68420"/>
                  </a:lnTo>
                  <a:lnTo>
                    <a:pt x="234307" y="67807"/>
                  </a:lnTo>
                  <a:close/>
                  <a:moveTo>
                    <a:pt x="236455" y="68216"/>
                  </a:moveTo>
                  <a:lnTo>
                    <a:pt x="236557" y="68625"/>
                  </a:lnTo>
                  <a:lnTo>
                    <a:pt x="236864" y="68932"/>
                  </a:lnTo>
                  <a:lnTo>
                    <a:pt x="237170" y="69750"/>
                  </a:lnTo>
                  <a:lnTo>
                    <a:pt x="237170" y="69341"/>
                  </a:lnTo>
                  <a:lnTo>
                    <a:pt x="237273" y="69545"/>
                  </a:lnTo>
                  <a:lnTo>
                    <a:pt x="237273" y="69443"/>
                  </a:lnTo>
                  <a:lnTo>
                    <a:pt x="237273" y="69136"/>
                  </a:lnTo>
                  <a:lnTo>
                    <a:pt x="237170" y="68932"/>
                  </a:lnTo>
                  <a:lnTo>
                    <a:pt x="236966" y="68318"/>
                  </a:lnTo>
                  <a:lnTo>
                    <a:pt x="236761" y="68420"/>
                  </a:lnTo>
                  <a:lnTo>
                    <a:pt x="236455" y="68216"/>
                  </a:lnTo>
                  <a:close/>
                  <a:moveTo>
                    <a:pt x="193091" y="69852"/>
                  </a:moveTo>
                  <a:lnTo>
                    <a:pt x="193295" y="70261"/>
                  </a:lnTo>
                  <a:lnTo>
                    <a:pt x="193160" y="69965"/>
                  </a:lnTo>
                  <a:lnTo>
                    <a:pt x="193091" y="69852"/>
                  </a:lnTo>
                  <a:close/>
                  <a:moveTo>
                    <a:pt x="235636" y="68830"/>
                  </a:moveTo>
                  <a:lnTo>
                    <a:pt x="235227" y="69034"/>
                  </a:lnTo>
                  <a:lnTo>
                    <a:pt x="235125" y="69239"/>
                  </a:lnTo>
                  <a:lnTo>
                    <a:pt x="235227" y="69648"/>
                  </a:lnTo>
                  <a:lnTo>
                    <a:pt x="234818" y="69955"/>
                  </a:lnTo>
                  <a:lnTo>
                    <a:pt x="235636" y="70670"/>
                  </a:lnTo>
                  <a:lnTo>
                    <a:pt x="235636" y="68830"/>
                  </a:lnTo>
                  <a:close/>
                  <a:moveTo>
                    <a:pt x="232057" y="68420"/>
                  </a:moveTo>
                  <a:lnTo>
                    <a:pt x="230318" y="71284"/>
                  </a:lnTo>
                  <a:lnTo>
                    <a:pt x="230318" y="71386"/>
                  </a:lnTo>
                  <a:lnTo>
                    <a:pt x="232261" y="69341"/>
                  </a:lnTo>
                  <a:lnTo>
                    <a:pt x="232057" y="68420"/>
                  </a:lnTo>
                  <a:close/>
                  <a:moveTo>
                    <a:pt x="196568" y="70159"/>
                  </a:moveTo>
                  <a:lnTo>
                    <a:pt x="196364" y="71795"/>
                  </a:lnTo>
                  <a:lnTo>
                    <a:pt x="196364" y="72000"/>
                  </a:lnTo>
                  <a:lnTo>
                    <a:pt x="197591" y="73739"/>
                  </a:lnTo>
                  <a:lnTo>
                    <a:pt x="198102" y="72102"/>
                  </a:lnTo>
                  <a:lnTo>
                    <a:pt x="196875" y="70261"/>
                  </a:lnTo>
                  <a:lnTo>
                    <a:pt x="196568" y="70159"/>
                  </a:lnTo>
                  <a:close/>
                  <a:moveTo>
                    <a:pt x="237580" y="70261"/>
                  </a:moveTo>
                  <a:lnTo>
                    <a:pt x="237580" y="70773"/>
                  </a:lnTo>
                  <a:lnTo>
                    <a:pt x="237068" y="70977"/>
                  </a:lnTo>
                  <a:lnTo>
                    <a:pt x="237068" y="71182"/>
                  </a:lnTo>
                  <a:lnTo>
                    <a:pt x="236761" y="71182"/>
                  </a:lnTo>
                  <a:lnTo>
                    <a:pt x="236659" y="71591"/>
                  </a:lnTo>
                  <a:lnTo>
                    <a:pt x="236250" y="71795"/>
                  </a:lnTo>
                  <a:lnTo>
                    <a:pt x="236148" y="71182"/>
                  </a:lnTo>
                  <a:lnTo>
                    <a:pt x="235739" y="71284"/>
                  </a:lnTo>
                  <a:lnTo>
                    <a:pt x="235432" y="71693"/>
                  </a:lnTo>
                  <a:lnTo>
                    <a:pt x="234818" y="71898"/>
                  </a:lnTo>
                  <a:lnTo>
                    <a:pt x="234818" y="72818"/>
                  </a:lnTo>
                  <a:lnTo>
                    <a:pt x="235227" y="72000"/>
                  </a:lnTo>
                  <a:lnTo>
                    <a:pt x="235636" y="72102"/>
                  </a:lnTo>
                  <a:lnTo>
                    <a:pt x="235943" y="72409"/>
                  </a:lnTo>
                  <a:lnTo>
                    <a:pt x="236045" y="72000"/>
                  </a:lnTo>
                  <a:lnTo>
                    <a:pt x="236455" y="72205"/>
                  </a:lnTo>
                  <a:lnTo>
                    <a:pt x="236557" y="73125"/>
                  </a:lnTo>
                  <a:lnTo>
                    <a:pt x="237580" y="73943"/>
                  </a:lnTo>
                  <a:lnTo>
                    <a:pt x="237682" y="73841"/>
                  </a:lnTo>
                  <a:lnTo>
                    <a:pt x="237682" y="74045"/>
                  </a:lnTo>
                  <a:lnTo>
                    <a:pt x="238091" y="73841"/>
                  </a:lnTo>
                  <a:lnTo>
                    <a:pt x="237784" y="73227"/>
                  </a:lnTo>
                  <a:lnTo>
                    <a:pt x="237989" y="72614"/>
                  </a:lnTo>
                  <a:lnTo>
                    <a:pt x="238295" y="72818"/>
                  </a:lnTo>
                  <a:lnTo>
                    <a:pt x="238500" y="73534"/>
                  </a:lnTo>
                  <a:lnTo>
                    <a:pt x="238500" y="73023"/>
                  </a:lnTo>
                  <a:lnTo>
                    <a:pt x="238807" y="72614"/>
                  </a:lnTo>
                  <a:lnTo>
                    <a:pt x="238500" y="71284"/>
                  </a:lnTo>
                  <a:lnTo>
                    <a:pt x="238398" y="71182"/>
                  </a:lnTo>
                  <a:lnTo>
                    <a:pt x="238500" y="70977"/>
                  </a:lnTo>
                  <a:lnTo>
                    <a:pt x="238295" y="70466"/>
                  </a:lnTo>
                  <a:lnTo>
                    <a:pt x="237580" y="70261"/>
                  </a:lnTo>
                  <a:close/>
                  <a:moveTo>
                    <a:pt x="240443" y="77727"/>
                  </a:moveTo>
                  <a:lnTo>
                    <a:pt x="240034" y="78545"/>
                  </a:lnTo>
                  <a:lnTo>
                    <a:pt x="240136" y="80284"/>
                  </a:lnTo>
                  <a:lnTo>
                    <a:pt x="240852" y="81000"/>
                  </a:lnTo>
                  <a:lnTo>
                    <a:pt x="240341" y="79568"/>
                  </a:lnTo>
                  <a:lnTo>
                    <a:pt x="241261" y="79773"/>
                  </a:lnTo>
                  <a:lnTo>
                    <a:pt x="240750" y="79057"/>
                  </a:lnTo>
                  <a:lnTo>
                    <a:pt x="241057" y="78852"/>
                  </a:lnTo>
                  <a:lnTo>
                    <a:pt x="241057" y="78545"/>
                  </a:lnTo>
                  <a:lnTo>
                    <a:pt x="240136" y="78955"/>
                  </a:lnTo>
                  <a:lnTo>
                    <a:pt x="240443" y="78648"/>
                  </a:lnTo>
                  <a:lnTo>
                    <a:pt x="240443" y="78341"/>
                  </a:lnTo>
                  <a:lnTo>
                    <a:pt x="240341" y="78136"/>
                  </a:lnTo>
                  <a:lnTo>
                    <a:pt x="240443" y="77727"/>
                  </a:lnTo>
                  <a:close/>
                  <a:moveTo>
                    <a:pt x="79875" y="80284"/>
                  </a:moveTo>
                  <a:lnTo>
                    <a:pt x="78136" y="80591"/>
                  </a:lnTo>
                  <a:lnTo>
                    <a:pt x="78136" y="81511"/>
                  </a:lnTo>
                  <a:lnTo>
                    <a:pt x="78443" y="81818"/>
                  </a:lnTo>
                  <a:lnTo>
                    <a:pt x="79466" y="81511"/>
                  </a:lnTo>
                  <a:lnTo>
                    <a:pt x="80080" y="80693"/>
                  </a:lnTo>
                  <a:lnTo>
                    <a:pt x="79875" y="80284"/>
                  </a:lnTo>
                  <a:close/>
                  <a:moveTo>
                    <a:pt x="261102" y="82636"/>
                  </a:moveTo>
                  <a:lnTo>
                    <a:pt x="261000" y="82841"/>
                  </a:lnTo>
                  <a:lnTo>
                    <a:pt x="261205" y="82943"/>
                  </a:lnTo>
                  <a:lnTo>
                    <a:pt x="261307" y="82943"/>
                  </a:lnTo>
                  <a:lnTo>
                    <a:pt x="261102" y="82636"/>
                  </a:lnTo>
                  <a:close/>
                  <a:moveTo>
                    <a:pt x="220500" y="81818"/>
                  </a:moveTo>
                  <a:lnTo>
                    <a:pt x="219784" y="81920"/>
                  </a:lnTo>
                  <a:lnTo>
                    <a:pt x="219886" y="82227"/>
                  </a:lnTo>
                  <a:lnTo>
                    <a:pt x="220295" y="82534"/>
                  </a:lnTo>
                  <a:lnTo>
                    <a:pt x="220295" y="82841"/>
                  </a:lnTo>
                  <a:lnTo>
                    <a:pt x="221011" y="83148"/>
                  </a:lnTo>
                  <a:lnTo>
                    <a:pt x="221114" y="82636"/>
                  </a:lnTo>
                  <a:lnTo>
                    <a:pt x="220500" y="81818"/>
                  </a:lnTo>
                  <a:close/>
                  <a:moveTo>
                    <a:pt x="222034" y="82636"/>
                  </a:moveTo>
                  <a:lnTo>
                    <a:pt x="221830" y="83045"/>
                  </a:lnTo>
                  <a:lnTo>
                    <a:pt x="221830" y="83352"/>
                  </a:lnTo>
                  <a:lnTo>
                    <a:pt x="222341" y="83148"/>
                  </a:lnTo>
                  <a:lnTo>
                    <a:pt x="222034" y="82636"/>
                  </a:lnTo>
                  <a:close/>
                  <a:moveTo>
                    <a:pt x="240443" y="83352"/>
                  </a:moveTo>
                  <a:lnTo>
                    <a:pt x="240239" y="83659"/>
                  </a:lnTo>
                  <a:lnTo>
                    <a:pt x="240239" y="83659"/>
                  </a:lnTo>
                  <a:lnTo>
                    <a:pt x="240545" y="83352"/>
                  </a:lnTo>
                  <a:close/>
                  <a:moveTo>
                    <a:pt x="240852" y="82943"/>
                  </a:moveTo>
                  <a:lnTo>
                    <a:pt x="240545" y="83352"/>
                  </a:lnTo>
                  <a:lnTo>
                    <a:pt x="240750" y="83557"/>
                  </a:lnTo>
                  <a:lnTo>
                    <a:pt x="241261" y="83455"/>
                  </a:lnTo>
                  <a:lnTo>
                    <a:pt x="241670" y="83557"/>
                  </a:lnTo>
                  <a:lnTo>
                    <a:pt x="241977" y="83455"/>
                  </a:lnTo>
                  <a:lnTo>
                    <a:pt x="242898" y="83966"/>
                  </a:lnTo>
                  <a:lnTo>
                    <a:pt x="241568" y="82943"/>
                  </a:lnTo>
                  <a:close/>
                  <a:moveTo>
                    <a:pt x="230011" y="72818"/>
                  </a:moveTo>
                  <a:lnTo>
                    <a:pt x="228989" y="74250"/>
                  </a:lnTo>
                  <a:lnTo>
                    <a:pt x="228989" y="74761"/>
                  </a:lnTo>
                  <a:lnTo>
                    <a:pt x="228477" y="74966"/>
                  </a:lnTo>
                  <a:lnTo>
                    <a:pt x="228477" y="74864"/>
                  </a:lnTo>
                  <a:lnTo>
                    <a:pt x="227557" y="75375"/>
                  </a:lnTo>
                  <a:lnTo>
                    <a:pt x="227045" y="76398"/>
                  </a:lnTo>
                  <a:lnTo>
                    <a:pt x="225409" y="77216"/>
                  </a:lnTo>
                  <a:lnTo>
                    <a:pt x="225307" y="77420"/>
                  </a:lnTo>
                  <a:lnTo>
                    <a:pt x="225205" y="77523"/>
                  </a:lnTo>
                  <a:lnTo>
                    <a:pt x="225205" y="78648"/>
                  </a:lnTo>
                  <a:lnTo>
                    <a:pt x="223670" y="77932"/>
                  </a:lnTo>
                  <a:lnTo>
                    <a:pt x="223159" y="78750"/>
                  </a:lnTo>
                  <a:lnTo>
                    <a:pt x="223261" y="78750"/>
                  </a:lnTo>
                  <a:lnTo>
                    <a:pt x="224182" y="83045"/>
                  </a:lnTo>
                  <a:lnTo>
                    <a:pt x="225511" y="83045"/>
                  </a:lnTo>
                  <a:lnTo>
                    <a:pt x="225818" y="83659"/>
                  </a:lnTo>
                  <a:lnTo>
                    <a:pt x="226023" y="83455"/>
                  </a:lnTo>
                  <a:lnTo>
                    <a:pt x="226330" y="83557"/>
                  </a:lnTo>
                  <a:lnTo>
                    <a:pt x="226739" y="83045"/>
                  </a:lnTo>
                  <a:lnTo>
                    <a:pt x="227352" y="83557"/>
                  </a:lnTo>
                  <a:lnTo>
                    <a:pt x="227966" y="83352"/>
                  </a:lnTo>
                  <a:lnTo>
                    <a:pt x="228068" y="83557"/>
                  </a:lnTo>
                  <a:lnTo>
                    <a:pt x="228375" y="84273"/>
                  </a:lnTo>
                  <a:lnTo>
                    <a:pt x="229398" y="83659"/>
                  </a:lnTo>
                  <a:lnTo>
                    <a:pt x="229705" y="83250"/>
                  </a:lnTo>
                  <a:lnTo>
                    <a:pt x="229602" y="83045"/>
                  </a:lnTo>
                  <a:lnTo>
                    <a:pt x="229807" y="82739"/>
                  </a:lnTo>
                  <a:lnTo>
                    <a:pt x="229705" y="81920"/>
                  </a:lnTo>
                  <a:lnTo>
                    <a:pt x="230216" y="81102"/>
                  </a:lnTo>
                  <a:lnTo>
                    <a:pt x="230523" y="81102"/>
                  </a:lnTo>
                  <a:lnTo>
                    <a:pt x="231239" y="78955"/>
                  </a:lnTo>
                  <a:lnTo>
                    <a:pt x="231852" y="79159"/>
                  </a:lnTo>
                  <a:lnTo>
                    <a:pt x="232159" y="79159"/>
                  </a:lnTo>
                  <a:lnTo>
                    <a:pt x="232057" y="78955"/>
                  </a:lnTo>
                  <a:lnTo>
                    <a:pt x="231136" y="77932"/>
                  </a:lnTo>
                  <a:lnTo>
                    <a:pt x="231034" y="77114"/>
                  </a:lnTo>
                  <a:lnTo>
                    <a:pt x="230932" y="77011"/>
                  </a:lnTo>
                  <a:lnTo>
                    <a:pt x="230420" y="76295"/>
                  </a:lnTo>
                  <a:lnTo>
                    <a:pt x="230830" y="76193"/>
                  </a:lnTo>
                  <a:lnTo>
                    <a:pt x="230932" y="76091"/>
                  </a:lnTo>
                  <a:lnTo>
                    <a:pt x="230932" y="75580"/>
                  </a:lnTo>
                  <a:lnTo>
                    <a:pt x="231750" y="75580"/>
                  </a:lnTo>
                  <a:lnTo>
                    <a:pt x="231443" y="74864"/>
                  </a:lnTo>
                  <a:lnTo>
                    <a:pt x="232261" y="74761"/>
                  </a:lnTo>
                  <a:lnTo>
                    <a:pt x="231136" y="73841"/>
                  </a:lnTo>
                  <a:lnTo>
                    <a:pt x="230727" y="73943"/>
                  </a:lnTo>
                  <a:lnTo>
                    <a:pt x="230420" y="72920"/>
                  </a:lnTo>
                  <a:lnTo>
                    <a:pt x="230011" y="73227"/>
                  </a:lnTo>
                  <a:lnTo>
                    <a:pt x="230011" y="72818"/>
                  </a:lnTo>
                  <a:close/>
                  <a:moveTo>
                    <a:pt x="261307" y="82943"/>
                  </a:moveTo>
                  <a:lnTo>
                    <a:pt x="262841" y="84989"/>
                  </a:lnTo>
                  <a:lnTo>
                    <a:pt x="262330" y="83761"/>
                  </a:lnTo>
                  <a:lnTo>
                    <a:pt x="261307" y="82943"/>
                  </a:lnTo>
                  <a:close/>
                  <a:moveTo>
                    <a:pt x="237682" y="78239"/>
                  </a:moveTo>
                  <a:lnTo>
                    <a:pt x="237170" y="78852"/>
                  </a:lnTo>
                  <a:lnTo>
                    <a:pt x="234614" y="78955"/>
                  </a:lnTo>
                  <a:lnTo>
                    <a:pt x="234409" y="78750"/>
                  </a:lnTo>
                  <a:lnTo>
                    <a:pt x="233489" y="79057"/>
                  </a:lnTo>
                  <a:lnTo>
                    <a:pt x="232977" y="79875"/>
                  </a:lnTo>
                  <a:lnTo>
                    <a:pt x="232977" y="80080"/>
                  </a:lnTo>
                  <a:lnTo>
                    <a:pt x="232875" y="80182"/>
                  </a:lnTo>
                  <a:lnTo>
                    <a:pt x="232977" y="80898"/>
                  </a:lnTo>
                  <a:lnTo>
                    <a:pt x="232875" y="80693"/>
                  </a:lnTo>
                  <a:lnTo>
                    <a:pt x="232057" y="83455"/>
                  </a:lnTo>
                  <a:lnTo>
                    <a:pt x="232364" y="83659"/>
                  </a:lnTo>
                  <a:lnTo>
                    <a:pt x="232568" y="83864"/>
                  </a:lnTo>
                  <a:lnTo>
                    <a:pt x="232670" y="85909"/>
                  </a:lnTo>
                  <a:lnTo>
                    <a:pt x="233386" y="85807"/>
                  </a:lnTo>
                  <a:lnTo>
                    <a:pt x="233591" y="82841"/>
                  </a:lnTo>
                  <a:lnTo>
                    <a:pt x="234409" y="84784"/>
                  </a:lnTo>
                  <a:lnTo>
                    <a:pt x="235636" y="84375"/>
                  </a:lnTo>
                  <a:lnTo>
                    <a:pt x="235125" y="83761"/>
                  </a:lnTo>
                  <a:lnTo>
                    <a:pt x="235227" y="83148"/>
                  </a:lnTo>
                  <a:lnTo>
                    <a:pt x="234409" y="82023"/>
                  </a:lnTo>
                  <a:lnTo>
                    <a:pt x="234614" y="82023"/>
                  </a:lnTo>
                  <a:lnTo>
                    <a:pt x="235739" y="81000"/>
                  </a:lnTo>
                  <a:lnTo>
                    <a:pt x="236148" y="81102"/>
                  </a:lnTo>
                  <a:lnTo>
                    <a:pt x="235739" y="80693"/>
                  </a:lnTo>
                  <a:lnTo>
                    <a:pt x="235739" y="80795"/>
                  </a:lnTo>
                  <a:lnTo>
                    <a:pt x="233591" y="81205"/>
                  </a:lnTo>
                  <a:lnTo>
                    <a:pt x="233284" y="80693"/>
                  </a:lnTo>
                  <a:lnTo>
                    <a:pt x="233182" y="80182"/>
                  </a:lnTo>
                  <a:lnTo>
                    <a:pt x="235943" y="79568"/>
                  </a:lnTo>
                  <a:lnTo>
                    <a:pt x="236455" y="79773"/>
                  </a:lnTo>
                  <a:lnTo>
                    <a:pt x="236966" y="79670"/>
                  </a:lnTo>
                  <a:lnTo>
                    <a:pt x="237580" y="79057"/>
                  </a:lnTo>
                  <a:lnTo>
                    <a:pt x="237682" y="78239"/>
                  </a:lnTo>
                  <a:close/>
                  <a:moveTo>
                    <a:pt x="210580" y="74659"/>
                  </a:moveTo>
                  <a:lnTo>
                    <a:pt x="219068" y="86114"/>
                  </a:lnTo>
                  <a:lnTo>
                    <a:pt x="219068" y="85705"/>
                  </a:lnTo>
                  <a:lnTo>
                    <a:pt x="219989" y="86011"/>
                  </a:lnTo>
                  <a:lnTo>
                    <a:pt x="220398" y="83250"/>
                  </a:lnTo>
                  <a:lnTo>
                    <a:pt x="219273" y="82636"/>
                  </a:lnTo>
                  <a:lnTo>
                    <a:pt x="218966" y="81102"/>
                  </a:lnTo>
                  <a:lnTo>
                    <a:pt x="218352" y="80898"/>
                  </a:lnTo>
                  <a:lnTo>
                    <a:pt x="218148" y="80489"/>
                  </a:lnTo>
                  <a:lnTo>
                    <a:pt x="218455" y="79977"/>
                  </a:lnTo>
                  <a:lnTo>
                    <a:pt x="218045" y="79466"/>
                  </a:lnTo>
                  <a:lnTo>
                    <a:pt x="217330" y="79773"/>
                  </a:lnTo>
                  <a:lnTo>
                    <a:pt x="217739" y="79568"/>
                  </a:lnTo>
                  <a:lnTo>
                    <a:pt x="216102" y="77830"/>
                  </a:lnTo>
                  <a:lnTo>
                    <a:pt x="215795" y="78034"/>
                  </a:lnTo>
                  <a:lnTo>
                    <a:pt x="212625" y="74659"/>
                  </a:lnTo>
                  <a:close/>
                  <a:moveTo>
                    <a:pt x="246170" y="85602"/>
                  </a:moveTo>
                  <a:lnTo>
                    <a:pt x="245864" y="85909"/>
                  </a:lnTo>
                  <a:lnTo>
                    <a:pt x="245761" y="86216"/>
                  </a:lnTo>
                  <a:lnTo>
                    <a:pt x="246273" y="86523"/>
                  </a:lnTo>
                  <a:lnTo>
                    <a:pt x="246375" y="86011"/>
                  </a:lnTo>
                  <a:lnTo>
                    <a:pt x="246170" y="85602"/>
                  </a:lnTo>
                  <a:close/>
                  <a:moveTo>
                    <a:pt x="261818" y="84375"/>
                  </a:moveTo>
                  <a:lnTo>
                    <a:pt x="261716" y="84886"/>
                  </a:lnTo>
                  <a:lnTo>
                    <a:pt x="260693" y="85705"/>
                  </a:lnTo>
                  <a:lnTo>
                    <a:pt x="260386" y="85705"/>
                  </a:lnTo>
                  <a:lnTo>
                    <a:pt x="260284" y="85193"/>
                  </a:lnTo>
                  <a:lnTo>
                    <a:pt x="260080" y="85705"/>
                  </a:lnTo>
                  <a:lnTo>
                    <a:pt x="258648" y="85909"/>
                  </a:lnTo>
                  <a:lnTo>
                    <a:pt x="259773" y="86523"/>
                  </a:lnTo>
                  <a:lnTo>
                    <a:pt x="262125" y="85500"/>
                  </a:lnTo>
                  <a:lnTo>
                    <a:pt x="262023" y="85295"/>
                  </a:lnTo>
                  <a:lnTo>
                    <a:pt x="262227" y="85193"/>
                  </a:lnTo>
                  <a:lnTo>
                    <a:pt x="262432" y="84477"/>
                  </a:lnTo>
                  <a:lnTo>
                    <a:pt x="261818" y="84375"/>
                  </a:lnTo>
                  <a:close/>
                  <a:moveTo>
                    <a:pt x="249239" y="87852"/>
                  </a:moveTo>
                  <a:lnTo>
                    <a:pt x="248727" y="88670"/>
                  </a:lnTo>
                  <a:lnTo>
                    <a:pt x="249648" y="88466"/>
                  </a:lnTo>
                  <a:lnTo>
                    <a:pt x="249239" y="87852"/>
                  </a:lnTo>
                  <a:close/>
                  <a:moveTo>
                    <a:pt x="220500" y="86216"/>
                  </a:moveTo>
                  <a:lnTo>
                    <a:pt x="219682" y="86932"/>
                  </a:lnTo>
                  <a:lnTo>
                    <a:pt x="219784" y="87136"/>
                  </a:lnTo>
                  <a:lnTo>
                    <a:pt x="227250" y="88875"/>
                  </a:lnTo>
                  <a:lnTo>
                    <a:pt x="227761" y="88977"/>
                  </a:lnTo>
                  <a:lnTo>
                    <a:pt x="227761" y="88057"/>
                  </a:lnTo>
                  <a:lnTo>
                    <a:pt x="226330" y="87648"/>
                  </a:lnTo>
                  <a:lnTo>
                    <a:pt x="226125" y="87136"/>
                  </a:lnTo>
                  <a:lnTo>
                    <a:pt x="224591" y="86727"/>
                  </a:lnTo>
                  <a:lnTo>
                    <a:pt x="224284" y="87136"/>
                  </a:lnTo>
                  <a:lnTo>
                    <a:pt x="222648" y="87034"/>
                  </a:lnTo>
                  <a:lnTo>
                    <a:pt x="222239" y="86523"/>
                  </a:lnTo>
                  <a:lnTo>
                    <a:pt x="220500" y="86216"/>
                  </a:lnTo>
                  <a:close/>
                  <a:moveTo>
                    <a:pt x="227761" y="88364"/>
                  </a:moveTo>
                  <a:lnTo>
                    <a:pt x="228273" y="89080"/>
                  </a:lnTo>
                  <a:lnTo>
                    <a:pt x="228886" y="88670"/>
                  </a:lnTo>
                  <a:lnTo>
                    <a:pt x="228375" y="88364"/>
                  </a:lnTo>
                  <a:close/>
                  <a:moveTo>
                    <a:pt x="229398" y="88568"/>
                  </a:moveTo>
                  <a:lnTo>
                    <a:pt x="228989" y="88977"/>
                  </a:lnTo>
                  <a:lnTo>
                    <a:pt x="229705" y="89182"/>
                  </a:lnTo>
                  <a:lnTo>
                    <a:pt x="229807" y="88670"/>
                  </a:lnTo>
                  <a:lnTo>
                    <a:pt x="229398" y="88568"/>
                  </a:lnTo>
                  <a:close/>
                  <a:moveTo>
                    <a:pt x="235432" y="88466"/>
                  </a:moveTo>
                  <a:lnTo>
                    <a:pt x="234920" y="88875"/>
                  </a:lnTo>
                  <a:lnTo>
                    <a:pt x="233182" y="88568"/>
                  </a:lnTo>
                  <a:lnTo>
                    <a:pt x="232670" y="88670"/>
                  </a:lnTo>
                  <a:lnTo>
                    <a:pt x="232670" y="89182"/>
                  </a:lnTo>
                  <a:lnTo>
                    <a:pt x="234716" y="88977"/>
                  </a:lnTo>
                  <a:lnTo>
                    <a:pt x="235330" y="88773"/>
                  </a:lnTo>
                  <a:lnTo>
                    <a:pt x="235534" y="88466"/>
                  </a:lnTo>
                  <a:close/>
                  <a:moveTo>
                    <a:pt x="230932" y="88364"/>
                  </a:moveTo>
                  <a:lnTo>
                    <a:pt x="230727" y="88568"/>
                  </a:lnTo>
                  <a:lnTo>
                    <a:pt x="231034" y="88977"/>
                  </a:lnTo>
                  <a:lnTo>
                    <a:pt x="231034" y="88977"/>
                  </a:lnTo>
                  <a:lnTo>
                    <a:pt x="230420" y="88670"/>
                  </a:lnTo>
                  <a:lnTo>
                    <a:pt x="230011" y="89386"/>
                  </a:lnTo>
                  <a:lnTo>
                    <a:pt x="231341" y="88977"/>
                  </a:lnTo>
                  <a:lnTo>
                    <a:pt x="231750" y="89080"/>
                  </a:lnTo>
                  <a:lnTo>
                    <a:pt x="231648" y="88977"/>
                  </a:lnTo>
                  <a:lnTo>
                    <a:pt x="231750" y="88977"/>
                  </a:lnTo>
                  <a:lnTo>
                    <a:pt x="231648" y="88670"/>
                  </a:lnTo>
                  <a:lnTo>
                    <a:pt x="231239" y="88568"/>
                  </a:lnTo>
                  <a:lnTo>
                    <a:pt x="230932" y="88364"/>
                  </a:lnTo>
                  <a:close/>
                  <a:moveTo>
                    <a:pt x="232670" y="89591"/>
                  </a:moveTo>
                  <a:lnTo>
                    <a:pt x="231750" y="89898"/>
                  </a:lnTo>
                  <a:lnTo>
                    <a:pt x="232670" y="90409"/>
                  </a:lnTo>
                  <a:lnTo>
                    <a:pt x="233284" y="90205"/>
                  </a:lnTo>
                  <a:lnTo>
                    <a:pt x="232670" y="89591"/>
                  </a:lnTo>
                  <a:close/>
                  <a:moveTo>
                    <a:pt x="239420" y="88670"/>
                  </a:moveTo>
                  <a:lnTo>
                    <a:pt x="237989" y="88773"/>
                  </a:lnTo>
                  <a:lnTo>
                    <a:pt x="235943" y="90102"/>
                  </a:lnTo>
                  <a:lnTo>
                    <a:pt x="235943" y="90511"/>
                  </a:lnTo>
                  <a:lnTo>
                    <a:pt x="237068" y="90102"/>
                  </a:lnTo>
                  <a:lnTo>
                    <a:pt x="239420" y="88670"/>
                  </a:lnTo>
                  <a:close/>
                  <a:moveTo>
                    <a:pt x="244636" y="80386"/>
                  </a:moveTo>
                  <a:lnTo>
                    <a:pt x="243205" y="81409"/>
                  </a:lnTo>
                  <a:lnTo>
                    <a:pt x="243920" y="81614"/>
                  </a:lnTo>
                  <a:lnTo>
                    <a:pt x="244125" y="82125"/>
                  </a:lnTo>
                  <a:lnTo>
                    <a:pt x="244432" y="82330"/>
                  </a:lnTo>
                  <a:lnTo>
                    <a:pt x="245761" y="82227"/>
                  </a:lnTo>
                  <a:lnTo>
                    <a:pt x="245557" y="82739"/>
                  </a:lnTo>
                  <a:lnTo>
                    <a:pt x="244023" y="82943"/>
                  </a:lnTo>
                  <a:lnTo>
                    <a:pt x="244534" y="83250"/>
                  </a:lnTo>
                  <a:lnTo>
                    <a:pt x="244739" y="84068"/>
                  </a:lnTo>
                  <a:lnTo>
                    <a:pt x="245659" y="83148"/>
                  </a:lnTo>
                  <a:lnTo>
                    <a:pt x="245761" y="83966"/>
                  </a:lnTo>
                  <a:lnTo>
                    <a:pt x="246580" y="84068"/>
                  </a:lnTo>
                  <a:lnTo>
                    <a:pt x="246784" y="84580"/>
                  </a:lnTo>
                  <a:lnTo>
                    <a:pt x="249648" y="85909"/>
                  </a:lnTo>
                  <a:lnTo>
                    <a:pt x="249443" y="86011"/>
                  </a:lnTo>
                  <a:lnTo>
                    <a:pt x="249648" y="86011"/>
                  </a:lnTo>
                  <a:lnTo>
                    <a:pt x="250261" y="87443"/>
                  </a:lnTo>
                  <a:lnTo>
                    <a:pt x="249852" y="87545"/>
                  </a:lnTo>
                  <a:lnTo>
                    <a:pt x="250057" y="88057"/>
                  </a:lnTo>
                  <a:lnTo>
                    <a:pt x="249852" y="88466"/>
                  </a:lnTo>
                  <a:lnTo>
                    <a:pt x="251080" y="88159"/>
                  </a:lnTo>
                  <a:lnTo>
                    <a:pt x="251080" y="88670"/>
                  </a:lnTo>
                  <a:lnTo>
                    <a:pt x="251693" y="89386"/>
                  </a:lnTo>
                  <a:lnTo>
                    <a:pt x="253534" y="89386"/>
                  </a:lnTo>
                  <a:lnTo>
                    <a:pt x="253841" y="88977"/>
                  </a:lnTo>
                  <a:lnTo>
                    <a:pt x="252920" y="88466"/>
                  </a:lnTo>
                  <a:lnTo>
                    <a:pt x="254455" y="88261"/>
                  </a:lnTo>
                  <a:lnTo>
                    <a:pt x="254455" y="88159"/>
                  </a:lnTo>
                  <a:lnTo>
                    <a:pt x="254557" y="88159"/>
                  </a:lnTo>
                  <a:lnTo>
                    <a:pt x="254250" y="87750"/>
                  </a:lnTo>
                  <a:lnTo>
                    <a:pt x="254864" y="87955"/>
                  </a:lnTo>
                  <a:lnTo>
                    <a:pt x="255375" y="87852"/>
                  </a:lnTo>
                  <a:lnTo>
                    <a:pt x="257625" y="90307"/>
                  </a:lnTo>
                  <a:lnTo>
                    <a:pt x="260080" y="91023"/>
                  </a:lnTo>
                  <a:lnTo>
                    <a:pt x="260080" y="90716"/>
                  </a:lnTo>
                  <a:lnTo>
                    <a:pt x="260489" y="90614"/>
                  </a:lnTo>
                  <a:lnTo>
                    <a:pt x="259670" y="90307"/>
                  </a:lnTo>
                  <a:lnTo>
                    <a:pt x="259670" y="90102"/>
                  </a:lnTo>
                  <a:lnTo>
                    <a:pt x="259159" y="89386"/>
                  </a:lnTo>
                  <a:lnTo>
                    <a:pt x="258648" y="89386"/>
                  </a:lnTo>
                  <a:lnTo>
                    <a:pt x="257318" y="87034"/>
                  </a:lnTo>
                  <a:lnTo>
                    <a:pt x="258136" y="86932"/>
                  </a:lnTo>
                  <a:lnTo>
                    <a:pt x="256500" y="85705"/>
                  </a:lnTo>
                  <a:lnTo>
                    <a:pt x="256398" y="84989"/>
                  </a:lnTo>
                  <a:lnTo>
                    <a:pt x="251898" y="82636"/>
                  </a:lnTo>
                  <a:lnTo>
                    <a:pt x="249545" y="81716"/>
                  </a:lnTo>
                  <a:lnTo>
                    <a:pt x="248727" y="81920"/>
                  </a:lnTo>
                  <a:lnTo>
                    <a:pt x="248727" y="82125"/>
                  </a:lnTo>
                  <a:lnTo>
                    <a:pt x="246989" y="83455"/>
                  </a:lnTo>
                  <a:lnTo>
                    <a:pt x="246375" y="82636"/>
                  </a:lnTo>
                  <a:lnTo>
                    <a:pt x="246273" y="82943"/>
                  </a:lnTo>
                  <a:lnTo>
                    <a:pt x="245864" y="80795"/>
                  </a:lnTo>
                  <a:lnTo>
                    <a:pt x="244636" y="80386"/>
                  </a:lnTo>
                  <a:close/>
                  <a:moveTo>
                    <a:pt x="242693" y="91534"/>
                  </a:moveTo>
                  <a:lnTo>
                    <a:pt x="241977" y="91636"/>
                  </a:lnTo>
                  <a:lnTo>
                    <a:pt x="241977" y="91841"/>
                  </a:lnTo>
                  <a:lnTo>
                    <a:pt x="242386" y="92352"/>
                  </a:lnTo>
                  <a:lnTo>
                    <a:pt x="242693" y="91534"/>
                  </a:lnTo>
                  <a:close/>
                  <a:moveTo>
                    <a:pt x="285750" y="96648"/>
                  </a:moveTo>
                  <a:lnTo>
                    <a:pt x="285545" y="96750"/>
                  </a:lnTo>
                  <a:lnTo>
                    <a:pt x="284420" y="97159"/>
                  </a:lnTo>
                  <a:lnTo>
                    <a:pt x="284216" y="97261"/>
                  </a:lnTo>
                  <a:lnTo>
                    <a:pt x="285239" y="97261"/>
                  </a:lnTo>
                  <a:lnTo>
                    <a:pt x="285750" y="96648"/>
                  </a:lnTo>
                  <a:close/>
                  <a:moveTo>
                    <a:pt x="285648" y="97057"/>
                  </a:moveTo>
                  <a:lnTo>
                    <a:pt x="285239" y="97261"/>
                  </a:lnTo>
                  <a:lnTo>
                    <a:pt x="285545" y="97261"/>
                  </a:lnTo>
                  <a:lnTo>
                    <a:pt x="285648" y="97057"/>
                  </a:lnTo>
                  <a:close/>
                  <a:moveTo>
                    <a:pt x="284011" y="98080"/>
                  </a:moveTo>
                  <a:lnTo>
                    <a:pt x="282886" y="98591"/>
                  </a:lnTo>
                  <a:lnTo>
                    <a:pt x="283807" y="98693"/>
                  </a:lnTo>
                  <a:lnTo>
                    <a:pt x="284114" y="98386"/>
                  </a:lnTo>
                  <a:lnTo>
                    <a:pt x="284011" y="98080"/>
                  </a:lnTo>
                  <a:close/>
                  <a:moveTo>
                    <a:pt x="168852" y="92761"/>
                  </a:moveTo>
                  <a:lnTo>
                    <a:pt x="168136" y="92864"/>
                  </a:lnTo>
                  <a:lnTo>
                    <a:pt x="168136" y="93682"/>
                  </a:lnTo>
                  <a:lnTo>
                    <a:pt x="167318" y="94295"/>
                  </a:lnTo>
                  <a:lnTo>
                    <a:pt x="167318" y="95114"/>
                  </a:lnTo>
                  <a:lnTo>
                    <a:pt x="166807" y="95420"/>
                  </a:lnTo>
                  <a:lnTo>
                    <a:pt x="166705" y="95318"/>
                  </a:lnTo>
                  <a:lnTo>
                    <a:pt x="165886" y="96341"/>
                  </a:lnTo>
                  <a:lnTo>
                    <a:pt x="165375" y="96239"/>
                  </a:lnTo>
                  <a:lnTo>
                    <a:pt x="164966" y="96443"/>
                  </a:lnTo>
                  <a:lnTo>
                    <a:pt x="164761" y="96443"/>
                  </a:lnTo>
                  <a:lnTo>
                    <a:pt x="164045" y="96955"/>
                  </a:lnTo>
                  <a:lnTo>
                    <a:pt x="163330" y="105955"/>
                  </a:lnTo>
                  <a:lnTo>
                    <a:pt x="163943" y="106261"/>
                  </a:lnTo>
                  <a:lnTo>
                    <a:pt x="165477" y="105852"/>
                  </a:lnTo>
                  <a:lnTo>
                    <a:pt x="168750" y="96034"/>
                  </a:lnTo>
                  <a:lnTo>
                    <a:pt x="169159" y="96341"/>
                  </a:lnTo>
                  <a:lnTo>
                    <a:pt x="169364" y="96136"/>
                  </a:lnTo>
                  <a:lnTo>
                    <a:pt x="168852" y="92761"/>
                  </a:lnTo>
                  <a:close/>
                  <a:moveTo>
                    <a:pt x="79364" y="112500"/>
                  </a:moveTo>
                  <a:lnTo>
                    <a:pt x="79057" y="112807"/>
                  </a:lnTo>
                  <a:lnTo>
                    <a:pt x="79057" y="113011"/>
                  </a:lnTo>
                  <a:lnTo>
                    <a:pt x="79364" y="112500"/>
                  </a:lnTo>
                  <a:close/>
                  <a:moveTo>
                    <a:pt x="185114" y="3784"/>
                  </a:moveTo>
                  <a:lnTo>
                    <a:pt x="184091" y="4398"/>
                  </a:lnTo>
                  <a:lnTo>
                    <a:pt x="184909" y="4705"/>
                  </a:lnTo>
                  <a:lnTo>
                    <a:pt x="183273" y="4705"/>
                  </a:lnTo>
                  <a:lnTo>
                    <a:pt x="183989" y="5011"/>
                  </a:lnTo>
                  <a:lnTo>
                    <a:pt x="184193" y="5318"/>
                  </a:lnTo>
                  <a:lnTo>
                    <a:pt x="184193" y="5318"/>
                  </a:lnTo>
                  <a:lnTo>
                    <a:pt x="183784" y="5011"/>
                  </a:lnTo>
                  <a:lnTo>
                    <a:pt x="180102" y="5114"/>
                  </a:lnTo>
                  <a:lnTo>
                    <a:pt x="180920" y="5216"/>
                  </a:lnTo>
                  <a:lnTo>
                    <a:pt x="177341" y="5727"/>
                  </a:lnTo>
                  <a:lnTo>
                    <a:pt x="177545" y="5932"/>
                  </a:lnTo>
                  <a:lnTo>
                    <a:pt x="177341" y="6239"/>
                  </a:lnTo>
                  <a:lnTo>
                    <a:pt x="176830" y="6136"/>
                  </a:lnTo>
                  <a:lnTo>
                    <a:pt x="177955" y="6443"/>
                  </a:lnTo>
                  <a:lnTo>
                    <a:pt x="177239" y="6443"/>
                  </a:lnTo>
                  <a:lnTo>
                    <a:pt x="178568" y="6852"/>
                  </a:lnTo>
                  <a:lnTo>
                    <a:pt x="178057" y="7057"/>
                  </a:lnTo>
                  <a:lnTo>
                    <a:pt x="178261" y="6852"/>
                  </a:lnTo>
                  <a:lnTo>
                    <a:pt x="178261" y="6852"/>
                  </a:lnTo>
                  <a:lnTo>
                    <a:pt x="174477" y="7057"/>
                  </a:lnTo>
                  <a:lnTo>
                    <a:pt x="174682" y="7466"/>
                  </a:lnTo>
                  <a:lnTo>
                    <a:pt x="174989" y="7568"/>
                  </a:lnTo>
                  <a:lnTo>
                    <a:pt x="175091" y="7773"/>
                  </a:lnTo>
                  <a:lnTo>
                    <a:pt x="177648" y="8795"/>
                  </a:lnTo>
                  <a:lnTo>
                    <a:pt x="177852" y="9205"/>
                  </a:lnTo>
                  <a:lnTo>
                    <a:pt x="178261" y="9511"/>
                  </a:lnTo>
                  <a:lnTo>
                    <a:pt x="178169" y="9789"/>
                  </a:lnTo>
                  <a:lnTo>
                    <a:pt x="177852" y="9409"/>
                  </a:lnTo>
                  <a:lnTo>
                    <a:pt x="177545" y="9716"/>
                  </a:lnTo>
                  <a:lnTo>
                    <a:pt x="177034" y="8591"/>
                  </a:lnTo>
                  <a:lnTo>
                    <a:pt x="173352" y="8182"/>
                  </a:lnTo>
                  <a:lnTo>
                    <a:pt x="173352" y="8182"/>
                  </a:lnTo>
                  <a:lnTo>
                    <a:pt x="173966" y="8489"/>
                  </a:lnTo>
                  <a:lnTo>
                    <a:pt x="172636" y="8489"/>
                  </a:lnTo>
                  <a:lnTo>
                    <a:pt x="175193" y="9205"/>
                  </a:lnTo>
                  <a:lnTo>
                    <a:pt x="175193" y="9205"/>
                  </a:lnTo>
                  <a:lnTo>
                    <a:pt x="172432" y="8898"/>
                  </a:lnTo>
                  <a:lnTo>
                    <a:pt x="172432" y="8693"/>
                  </a:lnTo>
                  <a:lnTo>
                    <a:pt x="172227" y="8591"/>
                  </a:lnTo>
                  <a:lnTo>
                    <a:pt x="172227" y="8182"/>
                  </a:lnTo>
                  <a:lnTo>
                    <a:pt x="171307" y="7670"/>
                  </a:lnTo>
                  <a:lnTo>
                    <a:pt x="171307" y="7670"/>
                  </a:lnTo>
                  <a:lnTo>
                    <a:pt x="171716" y="8284"/>
                  </a:lnTo>
                  <a:lnTo>
                    <a:pt x="171102" y="8898"/>
                  </a:lnTo>
                  <a:lnTo>
                    <a:pt x="172227" y="9511"/>
                  </a:lnTo>
                  <a:lnTo>
                    <a:pt x="172330" y="10330"/>
                  </a:lnTo>
                  <a:lnTo>
                    <a:pt x="174886" y="11148"/>
                  </a:lnTo>
                  <a:lnTo>
                    <a:pt x="173966" y="11045"/>
                  </a:lnTo>
                  <a:lnTo>
                    <a:pt x="174170" y="12068"/>
                  </a:lnTo>
                  <a:lnTo>
                    <a:pt x="173966" y="12375"/>
                  </a:lnTo>
                  <a:lnTo>
                    <a:pt x="173966" y="12580"/>
                  </a:lnTo>
                  <a:lnTo>
                    <a:pt x="173250" y="13398"/>
                  </a:lnTo>
                  <a:lnTo>
                    <a:pt x="170898" y="12886"/>
                  </a:lnTo>
                  <a:lnTo>
                    <a:pt x="172023" y="12886"/>
                  </a:lnTo>
                  <a:lnTo>
                    <a:pt x="172125" y="13091"/>
                  </a:lnTo>
                  <a:lnTo>
                    <a:pt x="172636" y="12989"/>
                  </a:lnTo>
                  <a:lnTo>
                    <a:pt x="172330" y="12784"/>
                  </a:lnTo>
                  <a:lnTo>
                    <a:pt x="173045" y="11761"/>
                  </a:lnTo>
                  <a:lnTo>
                    <a:pt x="173045" y="11352"/>
                  </a:lnTo>
                  <a:lnTo>
                    <a:pt x="172330" y="11045"/>
                  </a:lnTo>
                  <a:lnTo>
                    <a:pt x="171307" y="9920"/>
                  </a:lnTo>
                  <a:lnTo>
                    <a:pt x="171307" y="9716"/>
                  </a:lnTo>
                  <a:lnTo>
                    <a:pt x="171102" y="9307"/>
                  </a:lnTo>
                  <a:lnTo>
                    <a:pt x="170284" y="8898"/>
                  </a:lnTo>
                  <a:lnTo>
                    <a:pt x="170182" y="7875"/>
                  </a:lnTo>
                  <a:lnTo>
                    <a:pt x="168545" y="7670"/>
                  </a:lnTo>
                  <a:lnTo>
                    <a:pt x="167727" y="8080"/>
                  </a:lnTo>
                  <a:lnTo>
                    <a:pt x="167625" y="8795"/>
                  </a:lnTo>
                  <a:lnTo>
                    <a:pt x="167114" y="9205"/>
                  </a:lnTo>
                  <a:lnTo>
                    <a:pt x="167727" y="9409"/>
                  </a:lnTo>
                  <a:lnTo>
                    <a:pt x="168034" y="10432"/>
                  </a:lnTo>
                  <a:lnTo>
                    <a:pt x="169875" y="10943"/>
                  </a:lnTo>
                  <a:lnTo>
                    <a:pt x="169568" y="11557"/>
                  </a:lnTo>
                  <a:lnTo>
                    <a:pt x="164148" y="10227"/>
                  </a:lnTo>
                  <a:lnTo>
                    <a:pt x="163636" y="10432"/>
                  </a:lnTo>
                  <a:lnTo>
                    <a:pt x="164352" y="10841"/>
                  </a:lnTo>
                  <a:lnTo>
                    <a:pt x="163841" y="11250"/>
                  </a:lnTo>
                  <a:lnTo>
                    <a:pt x="159648" y="11557"/>
                  </a:lnTo>
                  <a:lnTo>
                    <a:pt x="159648" y="11557"/>
                  </a:lnTo>
                  <a:lnTo>
                    <a:pt x="159955" y="11455"/>
                  </a:lnTo>
                  <a:lnTo>
                    <a:pt x="159852" y="11045"/>
                  </a:lnTo>
                  <a:lnTo>
                    <a:pt x="159750" y="11045"/>
                  </a:lnTo>
                  <a:lnTo>
                    <a:pt x="158830" y="11250"/>
                  </a:lnTo>
                  <a:lnTo>
                    <a:pt x="159136" y="11352"/>
                  </a:lnTo>
                  <a:lnTo>
                    <a:pt x="158830" y="11455"/>
                  </a:lnTo>
                  <a:lnTo>
                    <a:pt x="158625" y="11352"/>
                  </a:lnTo>
                  <a:lnTo>
                    <a:pt x="156682" y="11966"/>
                  </a:lnTo>
                  <a:lnTo>
                    <a:pt x="156886" y="12068"/>
                  </a:lnTo>
                  <a:lnTo>
                    <a:pt x="155250" y="12886"/>
                  </a:lnTo>
                  <a:lnTo>
                    <a:pt x="154330" y="12273"/>
                  </a:lnTo>
                  <a:lnTo>
                    <a:pt x="155352" y="11966"/>
                  </a:lnTo>
                  <a:lnTo>
                    <a:pt x="152898" y="11250"/>
                  </a:lnTo>
                  <a:lnTo>
                    <a:pt x="153614" y="11659"/>
                  </a:lnTo>
                  <a:lnTo>
                    <a:pt x="153614" y="12375"/>
                  </a:lnTo>
                  <a:lnTo>
                    <a:pt x="154227" y="12784"/>
                  </a:lnTo>
                  <a:lnTo>
                    <a:pt x="154227" y="13602"/>
                  </a:lnTo>
                  <a:lnTo>
                    <a:pt x="152795" y="13193"/>
                  </a:lnTo>
                  <a:lnTo>
                    <a:pt x="151466" y="14011"/>
                  </a:lnTo>
                  <a:lnTo>
                    <a:pt x="152080" y="14727"/>
                  </a:lnTo>
                  <a:lnTo>
                    <a:pt x="151568" y="14932"/>
                  </a:lnTo>
                  <a:lnTo>
                    <a:pt x="149625" y="14318"/>
                  </a:lnTo>
                  <a:lnTo>
                    <a:pt x="149420" y="14523"/>
                  </a:lnTo>
                  <a:lnTo>
                    <a:pt x="150545" y="15239"/>
                  </a:lnTo>
                  <a:lnTo>
                    <a:pt x="150341" y="15545"/>
                  </a:lnTo>
                  <a:lnTo>
                    <a:pt x="146864" y="13295"/>
                  </a:lnTo>
                  <a:lnTo>
                    <a:pt x="147068" y="13193"/>
                  </a:lnTo>
                  <a:lnTo>
                    <a:pt x="145636" y="12580"/>
                  </a:lnTo>
                  <a:lnTo>
                    <a:pt x="151057" y="13398"/>
                  </a:lnTo>
                  <a:lnTo>
                    <a:pt x="151977" y="12886"/>
                  </a:lnTo>
                  <a:lnTo>
                    <a:pt x="151875" y="12375"/>
                  </a:lnTo>
                  <a:lnTo>
                    <a:pt x="150648" y="11659"/>
                  </a:lnTo>
                  <a:lnTo>
                    <a:pt x="150750" y="11761"/>
                  </a:lnTo>
                  <a:lnTo>
                    <a:pt x="150750" y="11761"/>
                  </a:lnTo>
                  <a:lnTo>
                    <a:pt x="146455" y="10636"/>
                  </a:lnTo>
                  <a:lnTo>
                    <a:pt x="146045" y="10841"/>
                  </a:lnTo>
                  <a:lnTo>
                    <a:pt x="145841" y="10636"/>
                  </a:lnTo>
                  <a:lnTo>
                    <a:pt x="145841" y="10534"/>
                  </a:lnTo>
                  <a:lnTo>
                    <a:pt x="145227" y="10432"/>
                  </a:lnTo>
                  <a:lnTo>
                    <a:pt x="145739" y="10330"/>
                  </a:lnTo>
                  <a:lnTo>
                    <a:pt x="145023" y="10125"/>
                  </a:lnTo>
                  <a:lnTo>
                    <a:pt x="145023" y="10125"/>
                  </a:lnTo>
                  <a:lnTo>
                    <a:pt x="145125" y="10227"/>
                  </a:lnTo>
                  <a:lnTo>
                    <a:pt x="143591" y="10330"/>
                  </a:lnTo>
                  <a:lnTo>
                    <a:pt x="143489" y="10125"/>
                  </a:lnTo>
                  <a:lnTo>
                    <a:pt x="142875" y="9920"/>
                  </a:lnTo>
                  <a:lnTo>
                    <a:pt x="144102" y="9920"/>
                  </a:lnTo>
                  <a:lnTo>
                    <a:pt x="143080" y="9409"/>
                  </a:lnTo>
                  <a:lnTo>
                    <a:pt x="142466" y="9920"/>
                  </a:lnTo>
                  <a:lnTo>
                    <a:pt x="141955" y="9409"/>
                  </a:lnTo>
                  <a:lnTo>
                    <a:pt x="141443" y="9716"/>
                  </a:lnTo>
                  <a:lnTo>
                    <a:pt x="141341" y="9511"/>
                  </a:lnTo>
                  <a:lnTo>
                    <a:pt x="141136" y="9409"/>
                  </a:lnTo>
                  <a:lnTo>
                    <a:pt x="140727" y="9920"/>
                  </a:lnTo>
                  <a:lnTo>
                    <a:pt x="140830" y="9409"/>
                  </a:lnTo>
                  <a:lnTo>
                    <a:pt x="140318" y="9307"/>
                  </a:lnTo>
                  <a:lnTo>
                    <a:pt x="139398" y="10023"/>
                  </a:lnTo>
                  <a:lnTo>
                    <a:pt x="138886" y="9716"/>
                  </a:lnTo>
                  <a:lnTo>
                    <a:pt x="138068" y="9920"/>
                  </a:lnTo>
                  <a:lnTo>
                    <a:pt x="138477" y="10227"/>
                  </a:lnTo>
                  <a:lnTo>
                    <a:pt x="137864" y="10125"/>
                  </a:lnTo>
                  <a:lnTo>
                    <a:pt x="137557" y="10330"/>
                  </a:lnTo>
                  <a:lnTo>
                    <a:pt x="137761" y="10534"/>
                  </a:lnTo>
                  <a:lnTo>
                    <a:pt x="137352" y="10636"/>
                  </a:lnTo>
                  <a:lnTo>
                    <a:pt x="137352" y="10125"/>
                  </a:lnTo>
                  <a:lnTo>
                    <a:pt x="137045" y="10534"/>
                  </a:lnTo>
                  <a:lnTo>
                    <a:pt x="136330" y="10534"/>
                  </a:lnTo>
                  <a:lnTo>
                    <a:pt x="136636" y="10636"/>
                  </a:lnTo>
                  <a:lnTo>
                    <a:pt x="136125" y="10636"/>
                  </a:lnTo>
                  <a:lnTo>
                    <a:pt x="136125" y="10841"/>
                  </a:lnTo>
                  <a:lnTo>
                    <a:pt x="135818" y="10841"/>
                  </a:lnTo>
                  <a:lnTo>
                    <a:pt x="135716" y="11045"/>
                  </a:lnTo>
                  <a:lnTo>
                    <a:pt x="135102" y="11352"/>
                  </a:lnTo>
                  <a:lnTo>
                    <a:pt x="135818" y="11455"/>
                  </a:lnTo>
                  <a:lnTo>
                    <a:pt x="135307" y="11455"/>
                  </a:lnTo>
                  <a:lnTo>
                    <a:pt x="135102" y="11761"/>
                  </a:lnTo>
                  <a:lnTo>
                    <a:pt x="135102" y="11966"/>
                  </a:lnTo>
                  <a:lnTo>
                    <a:pt x="134795" y="11659"/>
                  </a:lnTo>
                  <a:lnTo>
                    <a:pt x="134386" y="11761"/>
                  </a:lnTo>
                  <a:lnTo>
                    <a:pt x="134591" y="11864"/>
                  </a:lnTo>
                  <a:lnTo>
                    <a:pt x="134080" y="12068"/>
                  </a:lnTo>
                  <a:lnTo>
                    <a:pt x="134386" y="12068"/>
                  </a:lnTo>
                  <a:lnTo>
                    <a:pt x="134693" y="12273"/>
                  </a:lnTo>
                  <a:lnTo>
                    <a:pt x="134693" y="12375"/>
                  </a:lnTo>
                  <a:lnTo>
                    <a:pt x="133875" y="12477"/>
                  </a:lnTo>
                  <a:lnTo>
                    <a:pt x="134591" y="12477"/>
                  </a:lnTo>
                  <a:lnTo>
                    <a:pt x="133364" y="12784"/>
                  </a:lnTo>
                  <a:lnTo>
                    <a:pt x="133568" y="12886"/>
                  </a:lnTo>
                  <a:lnTo>
                    <a:pt x="133057" y="13091"/>
                  </a:lnTo>
                  <a:lnTo>
                    <a:pt x="133670" y="13295"/>
                  </a:lnTo>
                  <a:lnTo>
                    <a:pt x="132852" y="13500"/>
                  </a:lnTo>
                  <a:lnTo>
                    <a:pt x="133057" y="13602"/>
                  </a:lnTo>
                  <a:lnTo>
                    <a:pt x="133057" y="14216"/>
                  </a:lnTo>
                  <a:lnTo>
                    <a:pt x="132750" y="14420"/>
                  </a:lnTo>
                  <a:lnTo>
                    <a:pt x="132545" y="14318"/>
                  </a:lnTo>
                  <a:lnTo>
                    <a:pt x="131932" y="14727"/>
                  </a:lnTo>
                  <a:lnTo>
                    <a:pt x="132239" y="14625"/>
                  </a:lnTo>
                  <a:lnTo>
                    <a:pt x="130909" y="15750"/>
                  </a:lnTo>
                  <a:lnTo>
                    <a:pt x="131114" y="15852"/>
                  </a:lnTo>
                  <a:lnTo>
                    <a:pt x="131830" y="15545"/>
                  </a:lnTo>
                  <a:lnTo>
                    <a:pt x="131727" y="15443"/>
                  </a:lnTo>
                  <a:lnTo>
                    <a:pt x="132136" y="15443"/>
                  </a:lnTo>
                  <a:lnTo>
                    <a:pt x="131932" y="15545"/>
                  </a:lnTo>
                  <a:lnTo>
                    <a:pt x="132136" y="15545"/>
                  </a:lnTo>
                  <a:lnTo>
                    <a:pt x="131727" y="15852"/>
                  </a:lnTo>
                  <a:lnTo>
                    <a:pt x="130091" y="15955"/>
                  </a:lnTo>
                  <a:lnTo>
                    <a:pt x="129886" y="16057"/>
                  </a:lnTo>
                  <a:lnTo>
                    <a:pt x="130193" y="16466"/>
                  </a:lnTo>
                  <a:lnTo>
                    <a:pt x="128864" y="16568"/>
                  </a:lnTo>
                  <a:lnTo>
                    <a:pt x="129886" y="16568"/>
                  </a:lnTo>
                  <a:lnTo>
                    <a:pt x="128785" y="16804"/>
                  </a:lnTo>
                  <a:lnTo>
                    <a:pt x="128785" y="16804"/>
                  </a:lnTo>
                  <a:lnTo>
                    <a:pt x="127841" y="17182"/>
                  </a:lnTo>
                  <a:lnTo>
                    <a:pt x="128966" y="17386"/>
                  </a:lnTo>
                  <a:lnTo>
                    <a:pt x="127739" y="17386"/>
                  </a:lnTo>
                  <a:lnTo>
                    <a:pt x="128045" y="18102"/>
                  </a:lnTo>
                  <a:lnTo>
                    <a:pt x="129477" y="17795"/>
                  </a:lnTo>
                  <a:lnTo>
                    <a:pt x="129580" y="18000"/>
                  </a:lnTo>
                  <a:lnTo>
                    <a:pt x="129273" y="18205"/>
                  </a:lnTo>
                  <a:lnTo>
                    <a:pt x="127739" y="18307"/>
                  </a:lnTo>
                  <a:lnTo>
                    <a:pt x="128250" y="18511"/>
                  </a:lnTo>
                  <a:lnTo>
                    <a:pt x="127943" y="18818"/>
                  </a:lnTo>
                  <a:lnTo>
                    <a:pt x="128250" y="19023"/>
                  </a:lnTo>
                  <a:lnTo>
                    <a:pt x="127943" y="19227"/>
                  </a:lnTo>
                  <a:lnTo>
                    <a:pt x="128045" y="19330"/>
                  </a:lnTo>
                  <a:lnTo>
                    <a:pt x="129170" y="18614"/>
                  </a:lnTo>
                  <a:lnTo>
                    <a:pt x="128864" y="19023"/>
                  </a:lnTo>
                  <a:lnTo>
                    <a:pt x="128557" y="19023"/>
                  </a:lnTo>
                  <a:lnTo>
                    <a:pt x="128659" y="19330"/>
                  </a:lnTo>
                  <a:lnTo>
                    <a:pt x="127943" y="19841"/>
                  </a:lnTo>
                  <a:lnTo>
                    <a:pt x="128864" y="19534"/>
                  </a:lnTo>
                  <a:lnTo>
                    <a:pt x="128557" y="19841"/>
                  </a:lnTo>
                  <a:lnTo>
                    <a:pt x="128864" y="20045"/>
                  </a:lnTo>
                  <a:lnTo>
                    <a:pt x="128250" y="20352"/>
                  </a:lnTo>
                  <a:lnTo>
                    <a:pt x="129068" y="20761"/>
                  </a:lnTo>
                  <a:lnTo>
                    <a:pt x="128966" y="20864"/>
                  </a:lnTo>
                  <a:lnTo>
                    <a:pt x="131011" y="20148"/>
                  </a:lnTo>
                  <a:lnTo>
                    <a:pt x="131114" y="19943"/>
                  </a:lnTo>
                  <a:lnTo>
                    <a:pt x="131727" y="19841"/>
                  </a:lnTo>
                  <a:lnTo>
                    <a:pt x="131727" y="19534"/>
                  </a:lnTo>
                  <a:lnTo>
                    <a:pt x="131830" y="19330"/>
                  </a:lnTo>
                  <a:lnTo>
                    <a:pt x="132034" y="19841"/>
                  </a:lnTo>
                  <a:lnTo>
                    <a:pt x="132443" y="20045"/>
                  </a:lnTo>
                  <a:lnTo>
                    <a:pt x="132443" y="20659"/>
                  </a:lnTo>
                  <a:lnTo>
                    <a:pt x="133670" y="22295"/>
                  </a:lnTo>
                  <a:lnTo>
                    <a:pt x="133670" y="22500"/>
                  </a:lnTo>
                  <a:lnTo>
                    <a:pt x="133773" y="22705"/>
                  </a:lnTo>
                  <a:lnTo>
                    <a:pt x="133466" y="22705"/>
                  </a:lnTo>
                  <a:lnTo>
                    <a:pt x="133875" y="23523"/>
                  </a:lnTo>
                  <a:lnTo>
                    <a:pt x="135000" y="23318"/>
                  </a:lnTo>
                  <a:lnTo>
                    <a:pt x="135205" y="22909"/>
                  </a:lnTo>
                  <a:lnTo>
                    <a:pt x="136023" y="22807"/>
                  </a:lnTo>
                  <a:lnTo>
                    <a:pt x="136432" y="20557"/>
                  </a:lnTo>
                  <a:lnTo>
                    <a:pt x="136636" y="20557"/>
                  </a:lnTo>
                  <a:lnTo>
                    <a:pt x="136023" y="20455"/>
                  </a:lnTo>
                  <a:lnTo>
                    <a:pt x="137761" y="19739"/>
                  </a:lnTo>
                  <a:lnTo>
                    <a:pt x="137250" y="19739"/>
                  </a:lnTo>
                  <a:lnTo>
                    <a:pt x="137966" y="19227"/>
                  </a:lnTo>
                  <a:lnTo>
                    <a:pt x="136636" y="18307"/>
                  </a:lnTo>
                  <a:lnTo>
                    <a:pt x="136432" y="17489"/>
                  </a:lnTo>
                  <a:lnTo>
                    <a:pt x="136636" y="17591"/>
                  </a:lnTo>
                  <a:lnTo>
                    <a:pt x="136636" y="17080"/>
                  </a:lnTo>
                  <a:lnTo>
                    <a:pt x="136432" y="16773"/>
                  </a:lnTo>
                  <a:lnTo>
                    <a:pt x="136943" y="16670"/>
                  </a:lnTo>
                  <a:lnTo>
                    <a:pt x="136841" y="16670"/>
                  </a:lnTo>
                  <a:lnTo>
                    <a:pt x="136739" y="16466"/>
                  </a:lnTo>
                  <a:lnTo>
                    <a:pt x="137148" y="16364"/>
                  </a:lnTo>
                  <a:lnTo>
                    <a:pt x="137045" y="16364"/>
                  </a:lnTo>
                  <a:lnTo>
                    <a:pt x="137455" y="16159"/>
                  </a:lnTo>
                  <a:lnTo>
                    <a:pt x="137352" y="16057"/>
                  </a:lnTo>
                  <a:lnTo>
                    <a:pt x="137864" y="15955"/>
                  </a:lnTo>
                  <a:lnTo>
                    <a:pt x="137864" y="15852"/>
                  </a:lnTo>
                  <a:lnTo>
                    <a:pt x="139091" y="15034"/>
                  </a:lnTo>
                  <a:lnTo>
                    <a:pt x="138784" y="14625"/>
                  </a:lnTo>
                  <a:lnTo>
                    <a:pt x="138886" y="14216"/>
                  </a:lnTo>
                  <a:lnTo>
                    <a:pt x="138989" y="14216"/>
                  </a:lnTo>
                  <a:lnTo>
                    <a:pt x="139193" y="14011"/>
                  </a:lnTo>
                  <a:lnTo>
                    <a:pt x="139398" y="14011"/>
                  </a:lnTo>
                  <a:lnTo>
                    <a:pt x="139295" y="13909"/>
                  </a:lnTo>
                  <a:lnTo>
                    <a:pt x="141034" y="13705"/>
                  </a:lnTo>
                  <a:lnTo>
                    <a:pt x="141545" y="14011"/>
                  </a:lnTo>
                  <a:lnTo>
                    <a:pt x="141648" y="14625"/>
                  </a:lnTo>
                  <a:lnTo>
                    <a:pt x="139807" y="15852"/>
                  </a:lnTo>
                  <a:lnTo>
                    <a:pt x="139807" y="15955"/>
                  </a:lnTo>
                  <a:lnTo>
                    <a:pt x="139295" y="16159"/>
                  </a:lnTo>
                  <a:lnTo>
                    <a:pt x="139602" y="18511"/>
                  </a:lnTo>
                  <a:lnTo>
                    <a:pt x="140523" y="18716"/>
                  </a:lnTo>
                  <a:lnTo>
                    <a:pt x="140523" y="18920"/>
                  </a:lnTo>
                  <a:lnTo>
                    <a:pt x="140727" y="18920"/>
                  </a:lnTo>
                  <a:lnTo>
                    <a:pt x="140830" y="19330"/>
                  </a:lnTo>
                  <a:lnTo>
                    <a:pt x="142977" y="18818"/>
                  </a:lnTo>
                  <a:lnTo>
                    <a:pt x="142875" y="18716"/>
                  </a:lnTo>
                  <a:lnTo>
                    <a:pt x="143386" y="18511"/>
                  </a:lnTo>
                  <a:lnTo>
                    <a:pt x="143284" y="18716"/>
                  </a:lnTo>
                  <a:lnTo>
                    <a:pt x="144731" y="18619"/>
                  </a:lnTo>
                  <a:lnTo>
                    <a:pt x="144731" y="18619"/>
                  </a:lnTo>
                  <a:lnTo>
                    <a:pt x="146045" y="19125"/>
                  </a:lnTo>
                  <a:lnTo>
                    <a:pt x="144920" y="19227"/>
                  </a:lnTo>
                  <a:lnTo>
                    <a:pt x="144818" y="19432"/>
                  </a:lnTo>
                  <a:lnTo>
                    <a:pt x="144614" y="19330"/>
                  </a:lnTo>
                  <a:lnTo>
                    <a:pt x="144511" y="19636"/>
                  </a:lnTo>
                  <a:lnTo>
                    <a:pt x="141750" y="19739"/>
                  </a:lnTo>
                  <a:lnTo>
                    <a:pt x="141341" y="20045"/>
                  </a:lnTo>
                  <a:lnTo>
                    <a:pt x="142261" y="20864"/>
                  </a:lnTo>
                  <a:lnTo>
                    <a:pt x="142261" y="21784"/>
                  </a:lnTo>
                  <a:lnTo>
                    <a:pt x="140318" y="21375"/>
                  </a:lnTo>
                  <a:lnTo>
                    <a:pt x="139909" y="22398"/>
                  </a:lnTo>
                  <a:lnTo>
                    <a:pt x="140011" y="23318"/>
                  </a:lnTo>
                  <a:lnTo>
                    <a:pt x="140114" y="23932"/>
                  </a:lnTo>
                  <a:lnTo>
                    <a:pt x="139807" y="23932"/>
                  </a:lnTo>
                  <a:lnTo>
                    <a:pt x="140011" y="23318"/>
                  </a:lnTo>
                  <a:lnTo>
                    <a:pt x="138886" y="24545"/>
                  </a:lnTo>
                  <a:lnTo>
                    <a:pt x="138375" y="24239"/>
                  </a:lnTo>
                  <a:lnTo>
                    <a:pt x="134693" y="24750"/>
                  </a:lnTo>
                  <a:lnTo>
                    <a:pt x="135307" y="25261"/>
                  </a:lnTo>
                  <a:lnTo>
                    <a:pt x="134795" y="25057"/>
                  </a:lnTo>
                  <a:lnTo>
                    <a:pt x="134693" y="24750"/>
                  </a:lnTo>
                  <a:lnTo>
                    <a:pt x="133773" y="24443"/>
                  </a:lnTo>
                  <a:lnTo>
                    <a:pt x="132852" y="24955"/>
                  </a:lnTo>
                  <a:lnTo>
                    <a:pt x="131625" y="24443"/>
                  </a:lnTo>
                  <a:lnTo>
                    <a:pt x="131625" y="24136"/>
                  </a:lnTo>
                  <a:lnTo>
                    <a:pt x="131318" y="23830"/>
                  </a:lnTo>
                  <a:lnTo>
                    <a:pt x="131420" y="23420"/>
                  </a:lnTo>
                  <a:lnTo>
                    <a:pt x="131727" y="23216"/>
                  </a:lnTo>
                  <a:lnTo>
                    <a:pt x="131625" y="23114"/>
                  </a:lnTo>
                  <a:lnTo>
                    <a:pt x="132341" y="22500"/>
                  </a:lnTo>
                  <a:lnTo>
                    <a:pt x="131932" y="22398"/>
                  </a:lnTo>
                  <a:lnTo>
                    <a:pt x="132034" y="21273"/>
                  </a:lnTo>
                  <a:lnTo>
                    <a:pt x="132034" y="21273"/>
                  </a:lnTo>
                  <a:lnTo>
                    <a:pt x="130602" y="21886"/>
                  </a:lnTo>
                  <a:lnTo>
                    <a:pt x="130602" y="22193"/>
                  </a:lnTo>
                  <a:lnTo>
                    <a:pt x="131011" y="22295"/>
                  </a:lnTo>
                  <a:lnTo>
                    <a:pt x="130705" y="22398"/>
                  </a:lnTo>
                  <a:lnTo>
                    <a:pt x="130295" y="22398"/>
                  </a:lnTo>
                  <a:lnTo>
                    <a:pt x="130295" y="23318"/>
                  </a:lnTo>
                  <a:lnTo>
                    <a:pt x="130909" y="24341"/>
                  </a:lnTo>
                  <a:lnTo>
                    <a:pt x="130807" y="24545"/>
                  </a:lnTo>
                  <a:lnTo>
                    <a:pt x="131625" y="25261"/>
                  </a:lnTo>
                  <a:lnTo>
                    <a:pt x="131011" y="25057"/>
                  </a:lnTo>
                  <a:lnTo>
                    <a:pt x="130705" y="25466"/>
                  </a:lnTo>
                  <a:lnTo>
                    <a:pt x="128864" y="25466"/>
                  </a:lnTo>
                  <a:lnTo>
                    <a:pt x="127739" y="26080"/>
                  </a:lnTo>
                  <a:lnTo>
                    <a:pt x="127432" y="27205"/>
                  </a:lnTo>
                  <a:lnTo>
                    <a:pt x="127227" y="27205"/>
                  </a:lnTo>
                  <a:lnTo>
                    <a:pt x="127534" y="27409"/>
                  </a:lnTo>
                  <a:lnTo>
                    <a:pt x="127534" y="27409"/>
                  </a:lnTo>
                  <a:lnTo>
                    <a:pt x="126818" y="27307"/>
                  </a:lnTo>
                  <a:lnTo>
                    <a:pt x="126818" y="27307"/>
                  </a:lnTo>
                  <a:lnTo>
                    <a:pt x="127432" y="27409"/>
                  </a:lnTo>
                  <a:lnTo>
                    <a:pt x="125386" y="28023"/>
                  </a:lnTo>
                  <a:lnTo>
                    <a:pt x="124977" y="28841"/>
                  </a:lnTo>
                  <a:lnTo>
                    <a:pt x="124261" y="29148"/>
                  </a:lnTo>
                  <a:lnTo>
                    <a:pt x="124466" y="29352"/>
                  </a:lnTo>
                  <a:lnTo>
                    <a:pt x="123239" y="29455"/>
                  </a:lnTo>
                  <a:lnTo>
                    <a:pt x="123136" y="29148"/>
                  </a:lnTo>
                  <a:lnTo>
                    <a:pt x="122727" y="29352"/>
                  </a:lnTo>
                  <a:lnTo>
                    <a:pt x="123034" y="30170"/>
                  </a:lnTo>
                  <a:lnTo>
                    <a:pt x="120375" y="30375"/>
                  </a:lnTo>
                  <a:lnTo>
                    <a:pt x="120784" y="30477"/>
                  </a:lnTo>
                  <a:lnTo>
                    <a:pt x="120477" y="30580"/>
                  </a:lnTo>
                  <a:lnTo>
                    <a:pt x="120682" y="30682"/>
                  </a:lnTo>
                  <a:lnTo>
                    <a:pt x="120375" y="30784"/>
                  </a:lnTo>
                  <a:lnTo>
                    <a:pt x="122011" y="31193"/>
                  </a:lnTo>
                  <a:lnTo>
                    <a:pt x="121909" y="31295"/>
                  </a:lnTo>
                  <a:lnTo>
                    <a:pt x="122114" y="31295"/>
                  </a:lnTo>
                  <a:lnTo>
                    <a:pt x="122114" y="31398"/>
                  </a:lnTo>
                  <a:lnTo>
                    <a:pt x="122727" y="31602"/>
                  </a:lnTo>
                  <a:lnTo>
                    <a:pt x="122420" y="31705"/>
                  </a:lnTo>
                  <a:lnTo>
                    <a:pt x="122523" y="32114"/>
                  </a:lnTo>
                  <a:lnTo>
                    <a:pt x="123239" y="32523"/>
                  </a:lnTo>
                  <a:lnTo>
                    <a:pt x="123341" y="33136"/>
                  </a:lnTo>
                  <a:lnTo>
                    <a:pt x="123136" y="33034"/>
                  </a:lnTo>
                  <a:lnTo>
                    <a:pt x="123750" y="33852"/>
                  </a:lnTo>
                  <a:lnTo>
                    <a:pt x="123750" y="33852"/>
                  </a:lnTo>
                  <a:lnTo>
                    <a:pt x="123239" y="33341"/>
                  </a:lnTo>
                  <a:lnTo>
                    <a:pt x="123136" y="34261"/>
                  </a:lnTo>
                  <a:lnTo>
                    <a:pt x="123239" y="34159"/>
                  </a:lnTo>
                  <a:lnTo>
                    <a:pt x="123239" y="34261"/>
                  </a:lnTo>
                  <a:lnTo>
                    <a:pt x="122830" y="35386"/>
                  </a:lnTo>
                  <a:lnTo>
                    <a:pt x="117409" y="35284"/>
                  </a:lnTo>
                  <a:lnTo>
                    <a:pt x="117307" y="35489"/>
                  </a:lnTo>
                  <a:lnTo>
                    <a:pt x="116898" y="35591"/>
                  </a:lnTo>
                  <a:lnTo>
                    <a:pt x="116693" y="36307"/>
                  </a:lnTo>
                  <a:lnTo>
                    <a:pt x="116898" y="36307"/>
                  </a:lnTo>
                  <a:lnTo>
                    <a:pt x="116898" y="36614"/>
                  </a:lnTo>
                  <a:lnTo>
                    <a:pt x="117000" y="36614"/>
                  </a:lnTo>
                  <a:lnTo>
                    <a:pt x="116182" y="40091"/>
                  </a:lnTo>
                  <a:lnTo>
                    <a:pt x="116795" y="39784"/>
                  </a:lnTo>
                  <a:lnTo>
                    <a:pt x="116386" y="40295"/>
                  </a:lnTo>
                  <a:lnTo>
                    <a:pt x="116687" y="40446"/>
                  </a:lnTo>
                  <a:lnTo>
                    <a:pt x="116687" y="40446"/>
                  </a:lnTo>
                  <a:lnTo>
                    <a:pt x="116489" y="41932"/>
                  </a:lnTo>
                  <a:lnTo>
                    <a:pt x="118330" y="41625"/>
                  </a:lnTo>
                  <a:lnTo>
                    <a:pt x="118739" y="42136"/>
                  </a:lnTo>
                  <a:lnTo>
                    <a:pt x="118841" y="42034"/>
                  </a:lnTo>
                  <a:lnTo>
                    <a:pt x="119455" y="42955"/>
                  </a:lnTo>
                  <a:lnTo>
                    <a:pt x="122420" y="42034"/>
                  </a:lnTo>
                  <a:lnTo>
                    <a:pt x="122727" y="41625"/>
                  </a:lnTo>
                  <a:lnTo>
                    <a:pt x="123545" y="41318"/>
                  </a:lnTo>
                  <a:lnTo>
                    <a:pt x="123852" y="40500"/>
                  </a:lnTo>
                  <a:lnTo>
                    <a:pt x="124261" y="40193"/>
                  </a:lnTo>
                  <a:lnTo>
                    <a:pt x="123955" y="39784"/>
                  </a:lnTo>
                  <a:lnTo>
                    <a:pt x="124773" y="38045"/>
                  </a:lnTo>
                  <a:lnTo>
                    <a:pt x="126818" y="36920"/>
                  </a:lnTo>
                  <a:lnTo>
                    <a:pt x="126818" y="35693"/>
                  </a:lnTo>
                  <a:lnTo>
                    <a:pt x="129682" y="35591"/>
                  </a:lnTo>
                  <a:lnTo>
                    <a:pt x="131318" y="34466"/>
                  </a:lnTo>
                  <a:lnTo>
                    <a:pt x="136943" y="38864"/>
                  </a:lnTo>
                  <a:lnTo>
                    <a:pt x="137250" y="38864"/>
                  </a:lnTo>
                  <a:lnTo>
                    <a:pt x="137761" y="40091"/>
                  </a:lnTo>
                  <a:lnTo>
                    <a:pt x="137557" y="40193"/>
                  </a:lnTo>
                  <a:lnTo>
                    <a:pt x="137352" y="40807"/>
                  </a:lnTo>
                  <a:lnTo>
                    <a:pt x="137761" y="41011"/>
                  </a:lnTo>
                  <a:lnTo>
                    <a:pt x="138170" y="39989"/>
                  </a:lnTo>
                  <a:lnTo>
                    <a:pt x="138580" y="39886"/>
                  </a:lnTo>
                  <a:lnTo>
                    <a:pt x="138477" y="39375"/>
                  </a:lnTo>
                  <a:lnTo>
                    <a:pt x="138068" y="39170"/>
                  </a:lnTo>
                  <a:lnTo>
                    <a:pt x="138375" y="38455"/>
                  </a:lnTo>
                  <a:lnTo>
                    <a:pt x="139602" y="38966"/>
                  </a:lnTo>
                  <a:lnTo>
                    <a:pt x="137455" y="37432"/>
                  </a:lnTo>
                  <a:lnTo>
                    <a:pt x="137557" y="37023"/>
                  </a:lnTo>
                  <a:lnTo>
                    <a:pt x="136432" y="36818"/>
                  </a:lnTo>
                  <a:lnTo>
                    <a:pt x="134182" y="34057"/>
                  </a:lnTo>
                  <a:lnTo>
                    <a:pt x="134284" y="33341"/>
                  </a:lnTo>
                  <a:lnTo>
                    <a:pt x="135307" y="33239"/>
                  </a:lnTo>
                  <a:lnTo>
                    <a:pt x="135205" y="33750"/>
                  </a:lnTo>
                  <a:lnTo>
                    <a:pt x="135716" y="33750"/>
                  </a:lnTo>
                  <a:lnTo>
                    <a:pt x="135818" y="33545"/>
                  </a:lnTo>
                  <a:lnTo>
                    <a:pt x="136841" y="34670"/>
                  </a:lnTo>
                  <a:lnTo>
                    <a:pt x="136534" y="34670"/>
                  </a:lnTo>
                  <a:lnTo>
                    <a:pt x="138784" y="36102"/>
                  </a:lnTo>
                  <a:lnTo>
                    <a:pt x="138170" y="35898"/>
                  </a:lnTo>
                  <a:lnTo>
                    <a:pt x="140420" y="37330"/>
                  </a:lnTo>
                  <a:lnTo>
                    <a:pt x="140420" y="38557"/>
                  </a:lnTo>
                  <a:lnTo>
                    <a:pt x="140318" y="38557"/>
                  </a:lnTo>
                  <a:lnTo>
                    <a:pt x="141955" y="39989"/>
                  </a:lnTo>
                  <a:lnTo>
                    <a:pt x="141648" y="39989"/>
                  </a:lnTo>
                  <a:lnTo>
                    <a:pt x="141955" y="40398"/>
                  </a:lnTo>
                  <a:lnTo>
                    <a:pt x="143080" y="40500"/>
                  </a:lnTo>
                  <a:lnTo>
                    <a:pt x="143489" y="40807"/>
                  </a:lnTo>
                  <a:lnTo>
                    <a:pt x="143489" y="40909"/>
                  </a:lnTo>
                  <a:lnTo>
                    <a:pt x="142159" y="40909"/>
                  </a:lnTo>
                  <a:lnTo>
                    <a:pt x="142773" y="42239"/>
                  </a:lnTo>
                  <a:lnTo>
                    <a:pt x="143284" y="42545"/>
                  </a:lnTo>
                  <a:lnTo>
                    <a:pt x="143898" y="42545"/>
                  </a:lnTo>
                  <a:lnTo>
                    <a:pt x="143489" y="41318"/>
                  </a:lnTo>
                  <a:lnTo>
                    <a:pt x="144102" y="41523"/>
                  </a:lnTo>
                  <a:lnTo>
                    <a:pt x="144102" y="41523"/>
                  </a:lnTo>
                  <a:lnTo>
                    <a:pt x="143591" y="41011"/>
                  </a:lnTo>
                  <a:lnTo>
                    <a:pt x="144205" y="41011"/>
                  </a:lnTo>
                  <a:lnTo>
                    <a:pt x="144409" y="40807"/>
                  </a:lnTo>
                  <a:lnTo>
                    <a:pt x="143182" y="39989"/>
                  </a:lnTo>
                  <a:lnTo>
                    <a:pt x="143591" y="39784"/>
                  </a:lnTo>
                  <a:lnTo>
                    <a:pt x="143386" y="39682"/>
                  </a:lnTo>
                  <a:lnTo>
                    <a:pt x="143591" y="39580"/>
                  </a:lnTo>
                  <a:lnTo>
                    <a:pt x="143693" y="39784"/>
                  </a:lnTo>
                  <a:lnTo>
                    <a:pt x="143591" y="39477"/>
                  </a:lnTo>
                  <a:lnTo>
                    <a:pt x="143080" y="38761"/>
                  </a:lnTo>
                  <a:lnTo>
                    <a:pt x="143284" y="38352"/>
                  </a:lnTo>
                  <a:lnTo>
                    <a:pt x="143740" y="38678"/>
                  </a:lnTo>
                  <a:lnTo>
                    <a:pt x="143740" y="38678"/>
                  </a:lnTo>
                  <a:lnTo>
                    <a:pt x="144205" y="38864"/>
                  </a:lnTo>
                  <a:lnTo>
                    <a:pt x="144102" y="38557"/>
                  </a:lnTo>
                  <a:lnTo>
                    <a:pt x="144511" y="38761"/>
                  </a:lnTo>
                  <a:lnTo>
                    <a:pt x="144000" y="38250"/>
                  </a:lnTo>
                  <a:lnTo>
                    <a:pt x="145636" y="38045"/>
                  </a:lnTo>
                  <a:lnTo>
                    <a:pt x="145943" y="38250"/>
                  </a:lnTo>
                  <a:lnTo>
                    <a:pt x="146557" y="38250"/>
                  </a:lnTo>
                  <a:lnTo>
                    <a:pt x="146045" y="38864"/>
                  </a:lnTo>
                  <a:lnTo>
                    <a:pt x="146864" y="39989"/>
                  </a:lnTo>
                  <a:lnTo>
                    <a:pt x="146761" y="40295"/>
                  </a:lnTo>
                  <a:lnTo>
                    <a:pt x="147068" y="40398"/>
                  </a:lnTo>
                  <a:lnTo>
                    <a:pt x="146659" y="40602"/>
                  </a:lnTo>
                  <a:lnTo>
                    <a:pt x="146455" y="40295"/>
                  </a:lnTo>
                  <a:lnTo>
                    <a:pt x="146352" y="40705"/>
                  </a:lnTo>
                  <a:lnTo>
                    <a:pt x="146864" y="40807"/>
                  </a:lnTo>
                  <a:lnTo>
                    <a:pt x="147477" y="41727"/>
                  </a:lnTo>
                  <a:lnTo>
                    <a:pt x="147375" y="41830"/>
                  </a:lnTo>
                  <a:lnTo>
                    <a:pt x="147273" y="41932"/>
                  </a:lnTo>
                  <a:lnTo>
                    <a:pt x="148091" y="41932"/>
                  </a:lnTo>
                  <a:lnTo>
                    <a:pt x="147477" y="42239"/>
                  </a:lnTo>
                  <a:lnTo>
                    <a:pt x="147989" y="42239"/>
                  </a:lnTo>
                  <a:lnTo>
                    <a:pt x="147989" y="42341"/>
                  </a:lnTo>
                  <a:lnTo>
                    <a:pt x="148602" y="42239"/>
                  </a:lnTo>
                  <a:lnTo>
                    <a:pt x="149523" y="42852"/>
                  </a:lnTo>
                  <a:lnTo>
                    <a:pt x="150136" y="42648"/>
                  </a:lnTo>
                  <a:lnTo>
                    <a:pt x="150341" y="42136"/>
                  </a:lnTo>
                  <a:lnTo>
                    <a:pt x="152080" y="42955"/>
                  </a:lnTo>
                  <a:lnTo>
                    <a:pt x="152898" y="42852"/>
                  </a:lnTo>
                  <a:lnTo>
                    <a:pt x="153511" y="42239"/>
                  </a:lnTo>
                  <a:lnTo>
                    <a:pt x="154227" y="42443"/>
                  </a:lnTo>
                  <a:lnTo>
                    <a:pt x="154636" y="42136"/>
                  </a:lnTo>
                  <a:lnTo>
                    <a:pt x="154023" y="47659"/>
                  </a:lnTo>
                  <a:lnTo>
                    <a:pt x="152489" y="48068"/>
                  </a:lnTo>
                  <a:lnTo>
                    <a:pt x="152080" y="47864"/>
                  </a:lnTo>
                  <a:lnTo>
                    <a:pt x="151773" y="47864"/>
                  </a:lnTo>
                  <a:lnTo>
                    <a:pt x="151773" y="47761"/>
                  </a:lnTo>
                  <a:lnTo>
                    <a:pt x="151261" y="47557"/>
                  </a:lnTo>
                  <a:lnTo>
                    <a:pt x="150648" y="47761"/>
                  </a:lnTo>
                  <a:lnTo>
                    <a:pt x="150955" y="47557"/>
                  </a:lnTo>
                  <a:lnTo>
                    <a:pt x="150955" y="47557"/>
                  </a:lnTo>
                  <a:lnTo>
                    <a:pt x="149114" y="48170"/>
                  </a:lnTo>
                  <a:lnTo>
                    <a:pt x="146148" y="47659"/>
                  </a:lnTo>
                  <a:lnTo>
                    <a:pt x="145739" y="47148"/>
                  </a:lnTo>
                  <a:lnTo>
                    <a:pt x="144102" y="46739"/>
                  </a:lnTo>
                  <a:lnTo>
                    <a:pt x="144000" y="46432"/>
                  </a:lnTo>
                  <a:lnTo>
                    <a:pt x="143489" y="46227"/>
                  </a:lnTo>
                  <a:lnTo>
                    <a:pt x="141955" y="46534"/>
                  </a:lnTo>
                  <a:lnTo>
                    <a:pt x="141443" y="47250"/>
                  </a:lnTo>
                  <a:lnTo>
                    <a:pt x="141648" y="48170"/>
                  </a:lnTo>
                  <a:lnTo>
                    <a:pt x="140114" y="48580"/>
                  </a:lnTo>
                  <a:lnTo>
                    <a:pt x="133773" y="45818"/>
                  </a:lnTo>
                  <a:lnTo>
                    <a:pt x="133875" y="45818"/>
                  </a:lnTo>
                  <a:lnTo>
                    <a:pt x="132750" y="44898"/>
                  </a:lnTo>
                  <a:lnTo>
                    <a:pt x="133568" y="43670"/>
                  </a:lnTo>
                  <a:lnTo>
                    <a:pt x="133159" y="43057"/>
                  </a:lnTo>
                  <a:lnTo>
                    <a:pt x="133466" y="41932"/>
                  </a:lnTo>
                  <a:lnTo>
                    <a:pt x="132852" y="42136"/>
                  </a:lnTo>
                  <a:lnTo>
                    <a:pt x="132852" y="41830"/>
                  </a:lnTo>
                  <a:lnTo>
                    <a:pt x="132545" y="41727"/>
                  </a:lnTo>
                  <a:lnTo>
                    <a:pt x="132545" y="41625"/>
                  </a:lnTo>
                  <a:lnTo>
                    <a:pt x="130807" y="42136"/>
                  </a:lnTo>
                  <a:lnTo>
                    <a:pt x="130295" y="41830"/>
                  </a:lnTo>
                  <a:lnTo>
                    <a:pt x="122318" y="43977"/>
                  </a:lnTo>
                  <a:lnTo>
                    <a:pt x="121602" y="43670"/>
                  </a:lnTo>
                  <a:lnTo>
                    <a:pt x="120477" y="43875"/>
                  </a:lnTo>
                  <a:lnTo>
                    <a:pt x="119659" y="43057"/>
                  </a:lnTo>
                  <a:lnTo>
                    <a:pt x="115568" y="48477"/>
                  </a:lnTo>
                  <a:lnTo>
                    <a:pt x="115773" y="48784"/>
                  </a:lnTo>
                  <a:lnTo>
                    <a:pt x="114034" y="50932"/>
                  </a:lnTo>
                  <a:lnTo>
                    <a:pt x="112909" y="51239"/>
                  </a:lnTo>
                  <a:lnTo>
                    <a:pt x="109943" y="55739"/>
                  </a:lnTo>
                  <a:lnTo>
                    <a:pt x="109943" y="55739"/>
                  </a:lnTo>
                  <a:lnTo>
                    <a:pt x="110148" y="55534"/>
                  </a:lnTo>
                  <a:lnTo>
                    <a:pt x="110148" y="55534"/>
                  </a:lnTo>
                  <a:lnTo>
                    <a:pt x="108920" y="58602"/>
                  </a:lnTo>
                  <a:lnTo>
                    <a:pt x="109432" y="58807"/>
                  </a:lnTo>
                  <a:lnTo>
                    <a:pt x="109432" y="60034"/>
                  </a:lnTo>
                  <a:lnTo>
                    <a:pt x="109636" y="59932"/>
                  </a:lnTo>
                  <a:lnTo>
                    <a:pt x="109330" y="63716"/>
                  </a:lnTo>
                  <a:lnTo>
                    <a:pt x="108409" y="64841"/>
                  </a:lnTo>
                  <a:lnTo>
                    <a:pt x="109023" y="65659"/>
                  </a:lnTo>
                  <a:lnTo>
                    <a:pt x="109227" y="65557"/>
                  </a:lnTo>
                  <a:lnTo>
                    <a:pt x="109227" y="66170"/>
                  </a:lnTo>
                  <a:lnTo>
                    <a:pt x="110250" y="66170"/>
                  </a:lnTo>
                  <a:lnTo>
                    <a:pt x="109330" y="66375"/>
                  </a:lnTo>
                  <a:lnTo>
                    <a:pt x="109227" y="66273"/>
                  </a:lnTo>
                  <a:lnTo>
                    <a:pt x="109023" y="67091"/>
                  </a:lnTo>
                  <a:lnTo>
                    <a:pt x="109023" y="67091"/>
                  </a:lnTo>
                  <a:lnTo>
                    <a:pt x="109227" y="66989"/>
                  </a:lnTo>
                  <a:lnTo>
                    <a:pt x="109739" y="67909"/>
                  </a:lnTo>
                  <a:lnTo>
                    <a:pt x="110557" y="67705"/>
                  </a:lnTo>
                  <a:lnTo>
                    <a:pt x="110557" y="67705"/>
                  </a:lnTo>
                  <a:lnTo>
                    <a:pt x="110148" y="67909"/>
                  </a:lnTo>
                  <a:lnTo>
                    <a:pt x="110557" y="68114"/>
                  </a:lnTo>
                  <a:lnTo>
                    <a:pt x="110148" y="68318"/>
                  </a:lnTo>
                  <a:lnTo>
                    <a:pt x="110250" y="68318"/>
                  </a:lnTo>
                  <a:lnTo>
                    <a:pt x="110455" y="68523"/>
                  </a:lnTo>
                  <a:lnTo>
                    <a:pt x="110352" y="68727"/>
                  </a:lnTo>
                  <a:lnTo>
                    <a:pt x="110557" y="68625"/>
                  </a:lnTo>
                  <a:lnTo>
                    <a:pt x="110659" y="68932"/>
                  </a:lnTo>
                  <a:lnTo>
                    <a:pt x="110864" y="69034"/>
                  </a:lnTo>
                  <a:lnTo>
                    <a:pt x="110966" y="68932"/>
                  </a:lnTo>
                  <a:lnTo>
                    <a:pt x="111375" y="69648"/>
                  </a:lnTo>
                  <a:lnTo>
                    <a:pt x="111784" y="69852"/>
                  </a:lnTo>
                  <a:lnTo>
                    <a:pt x="111784" y="70261"/>
                  </a:lnTo>
                  <a:lnTo>
                    <a:pt x="112295" y="70875"/>
                  </a:lnTo>
                  <a:lnTo>
                    <a:pt x="112193" y="71182"/>
                  </a:lnTo>
                  <a:lnTo>
                    <a:pt x="112500" y="71182"/>
                  </a:lnTo>
                  <a:lnTo>
                    <a:pt x="112193" y="71284"/>
                  </a:lnTo>
                  <a:lnTo>
                    <a:pt x="117511" y="75477"/>
                  </a:lnTo>
                  <a:lnTo>
                    <a:pt x="119557" y="74761"/>
                  </a:lnTo>
                  <a:lnTo>
                    <a:pt x="119250" y="74761"/>
                  </a:lnTo>
                  <a:lnTo>
                    <a:pt x="120477" y="74659"/>
                  </a:lnTo>
                  <a:lnTo>
                    <a:pt x="119966" y="74659"/>
                  </a:lnTo>
                  <a:lnTo>
                    <a:pt x="121295" y="74557"/>
                  </a:lnTo>
                  <a:lnTo>
                    <a:pt x="121398" y="74761"/>
                  </a:lnTo>
                  <a:lnTo>
                    <a:pt x="127534" y="73227"/>
                  </a:lnTo>
                  <a:lnTo>
                    <a:pt x="127330" y="73432"/>
                  </a:lnTo>
                  <a:lnTo>
                    <a:pt x="129170" y="74455"/>
                  </a:lnTo>
                  <a:lnTo>
                    <a:pt x="129170" y="74761"/>
                  </a:lnTo>
                  <a:lnTo>
                    <a:pt x="129068" y="74761"/>
                  </a:lnTo>
                  <a:lnTo>
                    <a:pt x="129886" y="75477"/>
                  </a:lnTo>
                  <a:lnTo>
                    <a:pt x="130091" y="75477"/>
                  </a:lnTo>
                  <a:lnTo>
                    <a:pt x="130398" y="75580"/>
                  </a:lnTo>
                  <a:lnTo>
                    <a:pt x="130295" y="75170"/>
                  </a:lnTo>
                  <a:lnTo>
                    <a:pt x="130398" y="75477"/>
                  </a:lnTo>
                  <a:lnTo>
                    <a:pt x="130602" y="75170"/>
                  </a:lnTo>
                  <a:lnTo>
                    <a:pt x="131420" y="75375"/>
                  </a:lnTo>
                  <a:lnTo>
                    <a:pt x="131625" y="74966"/>
                  </a:lnTo>
                  <a:lnTo>
                    <a:pt x="132341" y="75784"/>
                  </a:lnTo>
                  <a:lnTo>
                    <a:pt x="132955" y="75886"/>
                  </a:lnTo>
                  <a:lnTo>
                    <a:pt x="132852" y="79466"/>
                  </a:lnTo>
                  <a:lnTo>
                    <a:pt x="132648" y="79568"/>
                  </a:lnTo>
                  <a:lnTo>
                    <a:pt x="133261" y="79875"/>
                  </a:lnTo>
                  <a:lnTo>
                    <a:pt x="133057" y="79977"/>
                  </a:lnTo>
                  <a:lnTo>
                    <a:pt x="132648" y="79670"/>
                  </a:lnTo>
                  <a:lnTo>
                    <a:pt x="132443" y="80591"/>
                  </a:lnTo>
                  <a:lnTo>
                    <a:pt x="132034" y="80693"/>
                  </a:lnTo>
                  <a:lnTo>
                    <a:pt x="132852" y="81716"/>
                  </a:lnTo>
                  <a:lnTo>
                    <a:pt x="132852" y="81716"/>
                  </a:lnTo>
                  <a:lnTo>
                    <a:pt x="132341" y="81409"/>
                  </a:lnTo>
                  <a:lnTo>
                    <a:pt x="132750" y="82023"/>
                  </a:lnTo>
                  <a:lnTo>
                    <a:pt x="132648" y="82023"/>
                  </a:lnTo>
                  <a:lnTo>
                    <a:pt x="133261" y="82636"/>
                  </a:lnTo>
                  <a:lnTo>
                    <a:pt x="132955" y="82534"/>
                  </a:lnTo>
                  <a:lnTo>
                    <a:pt x="135205" y="85909"/>
                  </a:lnTo>
                  <a:lnTo>
                    <a:pt x="136023" y="86114"/>
                  </a:lnTo>
                  <a:lnTo>
                    <a:pt x="135307" y="86318"/>
                  </a:lnTo>
                  <a:lnTo>
                    <a:pt x="135920" y="89284"/>
                  </a:lnTo>
                  <a:lnTo>
                    <a:pt x="136023" y="89182"/>
                  </a:lnTo>
                  <a:lnTo>
                    <a:pt x="136432" y="92557"/>
                  </a:lnTo>
                  <a:lnTo>
                    <a:pt x="134795" y="96648"/>
                  </a:lnTo>
                  <a:lnTo>
                    <a:pt x="137045" y="103602"/>
                  </a:lnTo>
                  <a:lnTo>
                    <a:pt x="136943" y="103602"/>
                  </a:lnTo>
                  <a:lnTo>
                    <a:pt x="140011" y="115364"/>
                  </a:lnTo>
                  <a:lnTo>
                    <a:pt x="146148" y="114955"/>
                  </a:lnTo>
                  <a:lnTo>
                    <a:pt x="146557" y="114648"/>
                  </a:lnTo>
                  <a:lnTo>
                    <a:pt x="147068" y="114648"/>
                  </a:lnTo>
                  <a:lnTo>
                    <a:pt x="152693" y="109125"/>
                  </a:lnTo>
                  <a:lnTo>
                    <a:pt x="153205" y="106977"/>
                  </a:lnTo>
                  <a:lnTo>
                    <a:pt x="153102" y="107080"/>
                  </a:lnTo>
                  <a:lnTo>
                    <a:pt x="153205" y="106875"/>
                  </a:lnTo>
                  <a:lnTo>
                    <a:pt x="153205" y="106977"/>
                  </a:lnTo>
                  <a:lnTo>
                    <a:pt x="155659" y="104523"/>
                  </a:lnTo>
                  <a:lnTo>
                    <a:pt x="155659" y="102784"/>
                  </a:lnTo>
                  <a:lnTo>
                    <a:pt x="155557" y="103091"/>
                  </a:lnTo>
                  <a:lnTo>
                    <a:pt x="155045" y="100330"/>
                  </a:lnTo>
                  <a:lnTo>
                    <a:pt x="160670" y="95932"/>
                  </a:lnTo>
                  <a:lnTo>
                    <a:pt x="160875" y="91125"/>
                  </a:lnTo>
                  <a:lnTo>
                    <a:pt x="160057" y="90307"/>
                  </a:lnTo>
                  <a:lnTo>
                    <a:pt x="159955" y="87136"/>
                  </a:lnTo>
                  <a:lnTo>
                    <a:pt x="159341" y="86523"/>
                  </a:lnTo>
                  <a:lnTo>
                    <a:pt x="161284" y="82125"/>
                  </a:lnTo>
                  <a:lnTo>
                    <a:pt x="161693" y="82023"/>
                  </a:lnTo>
                  <a:lnTo>
                    <a:pt x="170591" y="69341"/>
                  </a:lnTo>
                  <a:lnTo>
                    <a:pt x="170386" y="69136"/>
                  </a:lnTo>
                  <a:lnTo>
                    <a:pt x="170284" y="69341"/>
                  </a:lnTo>
                  <a:lnTo>
                    <a:pt x="170182" y="67807"/>
                  </a:lnTo>
                  <a:lnTo>
                    <a:pt x="164557" y="69341"/>
                  </a:lnTo>
                  <a:lnTo>
                    <a:pt x="162511" y="68114"/>
                  </a:lnTo>
                  <a:lnTo>
                    <a:pt x="163330" y="67602"/>
                  </a:lnTo>
                  <a:lnTo>
                    <a:pt x="162920" y="66784"/>
                  </a:lnTo>
                  <a:lnTo>
                    <a:pt x="162920" y="66886"/>
                  </a:lnTo>
                  <a:lnTo>
                    <a:pt x="159955" y="64125"/>
                  </a:lnTo>
                  <a:lnTo>
                    <a:pt x="159955" y="64534"/>
                  </a:lnTo>
                  <a:lnTo>
                    <a:pt x="157193" y="58295"/>
                  </a:lnTo>
                  <a:lnTo>
                    <a:pt x="157193" y="58295"/>
                  </a:lnTo>
                  <a:lnTo>
                    <a:pt x="157295" y="58398"/>
                  </a:lnTo>
                  <a:lnTo>
                    <a:pt x="156375" y="56761"/>
                  </a:lnTo>
                  <a:lnTo>
                    <a:pt x="155966" y="56557"/>
                  </a:lnTo>
                  <a:lnTo>
                    <a:pt x="155659" y="56148"/>
                  </a:lnTo>
                  <a:lnTo>
                    <a:pt x="155864" y="55432"/>
                  </a:lnTo>
                  <a:lnTo>
                    <a:pt x="152591" y="49193"/>
                  </a:lnTo>
                  <a:lnTo>
                    <a:pt x="152591" y="49193"/>
                  </a:lnTo>
                  <a:lnTo>
                    <a:pt x="153716" y="51136"/>
                  </a:lnTo>
                  <a:lnTo>
                    <a:pt x="154330" y="50830"/>
                  </a:lnTo>
                  <a:lnTo>
                    <a:pt x="154739" y="49602"/>
                  </a:lnTo>
                  <a:lnTo>
                    <a:pt x="154534" y="51136"/>
                  </a:lnTo>
                  <a:lnTo>
                    <a:pt x="158727" y="56557"/>
                  </a:lnTo>
                  <a:lnTo>
                    <a:pt x="158625" y="56557"/>
                  </a:lnTo>
                  <a:lnTo>
                    <a:pt x="162614" y="64330"/>
                  </a:lnTo>
                  <a:lnTo>
                    <a:pt x="162511" y="64227"/>
                  </a:lnTo>
                  <a:lnTo>
                    <a:pt x="162511" y="64227"/>
                  </a:lnTo>
                  <a:lnTo>
                    <a:pt x="163330" y="66989"/>
                  </a:lnTo>
                  <a:lnTo>
                    <a:pt x="171102" y="63818"/>
                  </a:lnTo>
                  <a:lnTo>
                    <a:pt x="171102" y="63409"/>
                  </a:lnTo>
                  <a:lnTo>
                    <a:pt x="173557" y="62489"/>
                  </a:lnTo>
                  <a:lnTo>
                    <a:pt x="173659" y="61977"/>
                  </a:lnTo>
                  <a:lnTo>
                    <a:pt x="174580" y="61568"/>
                  </a:lnTo>
                  <a:lnTo>
                    <a:pt x="174989" y="60750"/>
                  </a:lnTo>
                  <a:lnTo>
                    <a:pt x="175807" y="60443"/>
                  </a:lnTo>
                  <a:lnTo>
                    <a:pt x="175705" y="59625"/>
                  </a:lnTo>
                  <a:lnTo>
                    <a:pt x="176114" y="58807"/>
                  </a:lnTo>
                  <a:lnTo>
                    <a:pt x="176216" y="59114"/>
                  </a:lnTo>
                  <a:lnTo>
                    <a:pt x="177341" y="57170"/>
                  </a:lnTo>
                  <a:lnTo>
                    <a:pt x="174273" y="54920"/>
                  </a:lnTo>
                  <a:lnTo>
                    <a:pt x="173864" y="52977"/>
                  </a:lnTo>
                  <a:lnTo>
                    <a:pt x="172330" y="55023"/>
                  </a:lnTo>
                  <a:lnTo>
                    <a:pt x="170080" y="55330"/>
                  </a:lnTo>
                  <a:lnTo>
                    <a:pt x="169875" y="55023"/>
                  </a:lnTo>
                  <a:lnTo>
                    <a:pt x="169568" y="55023"/>
                  </a:lnTo>
                  <a:lnTo>
                    <a:pt x="169670" y="54818"/>
                  </a:lnTo>
                  <a:lnTo>
                    <a:pt x="169466" y="54716"/>
                  </a:lnTo>
                  <a:lnTo>
                    <a:pt x="169670" y="54000"/>
                  </a:lnTo>
                  <a:lnTo>
                    <a:pt x="169466" y="53284"/>
                  </a:lnTo>
                  <a:lnTo>
                    <a:pt x="169057" y="53795"/>
                  </a:lnTo>
                  <a:lnTo>
                    <a:pt x="169057" y="54511"/>
                  </a:lnTo>
                  <a:lnTo>
                    <a:pt x="168239" y="53182"/>
                  </a:lnTo>
                  <a:lnTo>
                    <a:pt x="168341" y="53182"/>
                  </a:lnTo>
                  <a:lnTo>
                    <a:pt x="168239" y="52568"/>
                  </a:lnTo>
                  <a:lnTo>
                    <a:pt x="168341" y="52568"/>
                  </a:lnTo>
                  <a:lnTo>
                    <a:pt x="165886" y="49807"/>
                  </a:lnTo>
                  <a:lnTo>
                    <a:pt x="166193" y="49602"/>
                  </a:lnTo>
                  <a:lnTo>
                    <a:pt x="165989" y="49193"/>
                  </a:lnTo>
                  <a:lnTo>
                    <a:pt x="166398" y="49295"/>
                  </a:lnTo>
                  <a:lnTo>
                    <a:pt x="166807" y="48682"/>
                  </a:lnTo>
                  <a:lnTo>
                    <a:pt x="166807" y="48784"/>
                  </a:lnTo>
                  <a:lnTo>
                    <a:pt x="171409" y="52568"/>
                  </a:lnTo>
                  <a:lnTo>
                    <a:pt x="172943" y="52466"/>
                  </a:lnTo>
                  <a:lnTo>
                    <a:pt x="173557" y="52057"/>
                  </a:lnTo>
                  <a:lnTo>
                    <a:pt x="174273" y="52364"/>
                  </a:lnTo>
                  <a:lnTo>
                    <a:pt x="174580" y="53182"/>
                  </a:lnTo>
                  <a:lnTo>
                    <a:pt x="177545" y="54000"/>
                  </a:lnTo>
                  <a:lnTo>
                    <a:pt x="177648" y="53898"/>
                  </a:lnTo>
                  <a:lnTo>
                    <a:pt x="177750" y="54000"/>
                  </a:lnTo>
                  <a:lnTo>
                    <a:pt x="182761" y="53898"/>
                  </a:lnTo>
                  <a:lnTo>
                    <a:pt x="182557" y="53795"/>
                  </a:lnTo>
                  <a:lnTo>
                    <a:pt x="182557" y="53795"/>
                  </a:lnTo>
                  <a:lnTo>
                    <a:pt x="182864" y="53898"/>
                  </a:lnTo>
                  <a:lnTo>
                    <a:pt x="182966" y="53898"/>
                  </a:lnTo>
                  <a:lnTo>
                    <a:pt x="184091" y="55432"/>
                  </a:lnTo>
                  <a:lnTo>
                    <a:pt x="184500" y="55636"/>
                  </a:lnTo>
                  <a:lnTo>
                    <a:pt x="184500" y="55534"/>
                  </a:lnTo>
                  <a:lnTo>
                    <a:pt x="185114" y="55534"/>
                  </a:lnTo>
                  <a:lnTo>
                    <a:pt x="184909" y="56045"/>
                  </a:lnTo>
                  <a:lnTo>
                    <a:pt x="185727" y="56557"/>
                  </a:lnTo>
                  <a:lnTo>
                    <a:pt x="186750" y="56250"/>
                  </a:lnTo>
                  <a:lnTo>
                    <a:pt x="185727" y="57068"/>
                  </a:lnTo>
                  <a:lnTo>
                    <a:pt x="185420" y="57068"/>
                  </a:lnTo>
                  <a:lnTo>
                    <a:pt x="187568" y="58602"/>
                  </a:lnTo>
                  <a:lnTo>
                    <a:pt x="188386" y="58193"/>
                  </a:lnTo>
                  <a:lnTo>
                    <a:pt x="188284" y="57170"/>
                  </a:lnTo>
                  <a:lnTo>
                    <a:pt x="188898" y="57170"/>
                  </a:lnTo>
                  <a:lnTo>
                    <a:pt x="188693" y="57682"/>
                  </a:lnTo>
                  <a:lnTo>
                    <a:pt x="189205" y="57682"/>
                  </a:lnTo>
                  <a:lnTo>
                    <a:pt x="188795" y="57989"/>
                  </a:lnTo>
                  <a:lnTo>
                    <a:pt x="188898" y="57989"/>
                  </a:lnTo>
                  <a:lnTo>
                    <a:pt x="189307" y="60239"/>
                  </a:lnTo>
                  <a:lnTo>
                    <a:pt x="189205" y="60239"/>
                  </a:lnTo>
                  <a:lnTo>
                    <a:pt x="189205" y="60545"/>
                  </a:lnTo>
                  <a:lnTo>
                    <a:pt x="189307" y="60341"/>
                  </a:lnTo>
                  <a:lnTo>
                    <a:pt x="190636" y="64227"/>
                  </a:lnTo>
                  <a:lnTo>
                    <a:pt x="190534" y="64227"/>
                  </a:lnTo>
                  <a:lnTo>
                    <a:pt x="193160" y="69965"/>
                  </a:lnTo>
                  <a:lnTo>
                    <a:pt x="194216" y="71693"/>
                  </a:lnTo>
                  <a:lnTo>
                    <a:pt x="195955" y="70568"/>
                  </a:lnTo>
                  <a:lnTo>
                    <a:pt x="195545" y="70261"/>
                  </a:lnTo>
                  <a:lnTo>
                    <a:pt x="195852" y="69443"/>
                  </a:lnTo>
                  <a:lnTo>
                    <a:pt x="196364" y="69239"/>
                  </a:lnTo>
                  <a:lnTo>
                    <a:pt x="196568" y="66375"/>
                  </a:lnTo>
                  <a:lnTo>
                    <a:pt x="196466" y="66170"/>
                  </a:lnTo>
                  <a:lnTo>
                    <a:pt x="196261" y="63920"/>
                  </a:lnTo>
                  <a:lnTo>
                    <a:pt x="196875" y="63818"/>
                  </a:lnTo>
                  <a:lnTo>
                    <a:pt x="200455" y="59830"/>
                  </a:lnTo>
                  <a:lnTo>
                    <a:pt x="200250" y="59932"/>
                  </a:lnTo>
                  <a:lnTo>
                    <a:pt x="200250" y="59932"/>
                  </a:lnTo>
                  <a:lnTo>
                    <a:pt x="201580" y="58705"/>
                  </a:lnTo>
                  <a:lnTo>
                    <a:pt x="201477" y="58091"/>
                  </a:lnTo>
                  <a:lnTo>
                    <a:pt x="202398" y="57580"/>
                  </a:lnTo>
                  <a:lnTo>
                    <a:pt x="202295" y="57068"/>
                  </a:lnTo>
                  <a:lnTo>
                    <a:pt x="202500" y="57580"/>
                  </a:lnTo>
                  <a:lnTo>
                    <a:pt x="202705" y="57682"/>
                  </a:lnTo>
                  <a:lnTo>
                    <a:pt x="202909" y="57273"/>
                  </a:lnTo>
                  <a:lnTo>
                    <a:pt x="203114" y="57886"/>
                  </a:lnTo>
                  <a:lnTo>
                    <a:pt x="203216" y="57682"/>
                  </a:lnTo>
                  <a:lnTo>
                    <a:pt x="203420" y="57784"/>
                  </a:lnTo>
                  <a:lnTo>
                    <a:pt x="203420" y="57784"/>
                  </a:lnTo>
                  <a:lnTo>
                    <a:pt x="203216" y="57477"/>
                  </a:lnTo>
                  <a:lnTo>
                    <a:pt x="203318" y="57273"/>
                  </a:lnTo>
                  <a:lnTo>
                    <a:pt x="203625" y="57682"/>
                  </a:lnTo>
                  <a:lnTo>
                    <a:pt x="203625" y="57170"/>
                  </a:lnTo>
                  <a:lnTo>
                    <a:pt x="203830" y="57682"/>
                  </a:lnTo>
                  <a:lnTo>
                    <a:pt x="204136" y="56966"/>
                  </a:lnTo>
                  <a:lnTo>
                    <a:pt x="204136" y="57375"/>
                  </a:lnTo>
                  <a:lnTo>
                    <a:pt x="204341" y="57273"/>
                  </a:lnTo>
                  <a:lnTo>
                    <a:pt x="204341" y="57580"/>
                  </a:lnTo>
                  <a:lnTo>
                    <a:pt x="204648" y="57170"/>
                  </a:lnTo>
                  <a:lnTo>
                    <a:pt x="204545" y="56250"/>
                  </a:lnTo>
                  <a:lnTo>
                    <a:pt x="204239" y="55943"/>
                  </a:lnTo>
                  <a:lnTo>
                    <a:pt x="204443" y="55943"/>
                  </a:lnTo>
                  <a:lnTo>
                    <a:pt x="204443" y="55739"/>
                  </a:lnTo>
                  <a:lnTo>
                    <a:pt x="205773" y="57068"/>
                  </a:lnTo>
                  <a:lnTo>
                    <a:pt x="206795" y="59216"/>
                  </a:lnTo>
                  <a:lnTo>
                    <a:pt x="206795" y="58909"/>
                  </a:lnTo>
                  <a:lnTo>
                    <a:pt x="207102" y="59011"/>
                  </a:lnTo>
                  <a:lnTo>
                    <a:pt x="207307" y="59625"/>
                  </a:lnTo>
                  <a:lnTo>
                    <a:pt x="207307" y="59420"/>
                  </a:lnTo>
                  <a:lnTo>
                    <a:pt x="207818" y="59523"/>
                  </a:lnTo>
                  <a:lnTo>
                    <a:pt x="208125" y="60136"/>
                  </a:lnTo>
                  <a:lnTo>
                    <a:pt x="207716" y="60136"/>
                  </a:lnTo>
                  <a:lnTo>
                    <a:pt x="208125" y="60648"/>
                  </a:lnTo>
                  <a:lnTo>
                    <a:pt x="208125" y="60239"/>
                  </a:lnTo>
                  <a:lnTo>
                    <a:pt x="208432" y="60750"/>
                  </a:lnTo>
                  <a:lnTo>
                    <a:pt x="208330" y="60750"/>
                  </a:lnTo>
                  <a:lnTo>
                    <a:pt x="208739" y="63614"/>
                  </a:lnTo>
                  <a:lnTo>
                    <a:pt x="209148" y="63102"/>
                  </a:lnTo>
                  <a:lnTo>
                    <a:pt x="209148" y="63716"/>
                  </a:lnTo>
                  <a:lnTo>
                    <a:pt x="209352" y="63409"/>
                  </a:lnTo>
                  <a:lnTo>
                    <a:pt x="210170" y="63409"/>
                  </a:lnTo>
                  <a:lnTo>
                    <a:pt x="210477" y="63205"/>
                  </a:lnTo>
                  <a:lnTo>
                    <a:pt x="210477" y="62795"/>
                  </a:lnTo>
                  <a:lnTo>
                    <a:pt x="210886" y="62898"/>
                  </a:lnTo>
                  <a:lnTo>
                    <a:pt x="210989" y="62182"/>
                  </a:lnTo>
                  <a:lnTo>
                    <a:pt x="211807" y="63000"/>
                  </a:lnTo>
                  <a:lnTo>
                    <a:pt x="212318" y="64943"/>
                  </a:lnTo>
                  <a:lnTo>
                    <a:pt x="212216" y="64943"/>
                  </a:lnTo>
                  <a:lnTo>
                    <a:pt x="212523" y="65966"/>
                  </a:lnTo>
                  <a:lnTo>
                    <a:pt x="212625" y="65659"/>
                  </a:lnTo>
                  <a:lnTo>
                    <a:pt x="213239" y="69750"/>
                  </a:lnTo>
                  <a:lnTo>
                    <a:pt x="213341" y="69545"/>
                  </a:lnTo>
                  <a:lnTo>
                    <a:pt x="213136" y="71386"/>
                  </a:lnTo>
                  <a:lnTo>
                    <a:pt x="218045" y="78545"/>
                  </a:lnTo>
                  <a:lnTo>
                    <a:pt x="218455" y="78545"/>
                  </a:lnTo>
                  <a:lnTo>
                    <a:pt x="218557" y="78341"/>
                  </a:lnTo>
                  <a:lnTo>
                    <a:pt x="218864" y="78341"/>
                  </a:lnTo>
                  <a:lnTo>
                    <a:pt x="217739" y="74659"/>
                  </a:lnTo>
                  <a:lnTo>
                    <a:pt x="215182" y="72307"/>
                  </a:lnTo>
                  <a:lnTo>
                    <a:pt x="215284" y="72614"/>
                  </a:lnTo>
                  <a:lnTo>
                    <a:pt x="214875" y="72102"/>
                  </a:lnTo>
                  <a:lnTo>
                    <a:pt x="215182" y="72307"/>
                  </a:lnTo>
                  <a:lnTo>
                    <a:pt x="214875" y="71284"/>
                  </a:lnTo>
                  <a:lnTo>
                    <a:pt x="214773" y="71386"/>
                  </a:lnTo>
                  <a:lnTo>
                    <a:pt x="213852" y="69852"/>
                  </a:lnTo>
                  <a:lnTo>
                    <a:pt x="214364" y="66580"/>
                  </a:lnTo>
                  <a:lnTo>
                    <a:pt x="214261" y="66375"/>
                  </a:lnTo>
                  <a:lnTo>
                    <a:pt x="215080" y="66273"/>
                  </a:lnTo>
                  <a:lnTo>
                    <a:pt x="215080" y="66784"/>
                  </a:lnTo>
                  <a:lnTo>
                    <a:pt x="216409" y="67398"/>
                  </a:lnTo>
                  <a:lnTo>
                    <a:pt x="216409" y="67295"/>
                  </a:lnTo>
                  <a:lnTo>
                    <a:pt x="216716" y="67602"/>
                  </a:lnTo>
                  <a:lnTo>
                    <a:pt x="216716" y="67500"/>
                  </a:lnTo>
                  <a:lnTo>
                    <a:pt x="217023" y="68011"/>
                  </a:lnTo>
                  <a:lnTo>
                    <a:pt x="217125" y="67909"/>
                  </a:lnTo>
                  <a:lnTo>
                    <a:pt x="217330" y="68625"/>
                  </a:lnTo>
                  <a:lnTo>
                    <a:pt x="217636" y="68625"/>
                  </a:lnTo>
                  <a:lnTo>
                    <a:pt x="217739" y="69034"/>
                  </a:lnTo>
                  <a:lnTo>
                    <a:pt x="219068" y="69648"/>
                  </a:lnTo>
                  <a:lnTo>
                    <a:pt x="218966" y="71182"/>
                  </a:lnTo>
                  <a:lnTo>
                    <a:pt x="218966" y="71182"/>
                  </a:lnTo>
                  <a:lnTo>
                    <a:pt x="219886" y="70568"/>
                  </a:lnTo>
                  <a:lnTo>
                    <a:pt x="219886" y="69750"/>
                  </a:lnTo>
                  <a:lnTo>
                    <a:pt x="220500" y="70159"/>
                  </a:lnTo>
                  <a:lnTo>
                    <a:pt x="220091" y="69545"/>
                  </a:lnTo>
                  <a:lnTo>
                    <a:pt x="220602" y="69852"/>
                  </a:lnTo>
                  <a:lnTo>
                    <a:pt x="220398" y="69443"/>
                  </a:lnTo>
                  <a:lnTo>
                    <a:pt x="222545" y="68318"/>
                  </a:lnTo>
                  <a:lnTo>
                    <a:pt x="222737" y="67743"/>
                  </a:lnTo>
                  <a:lnTo>
                    <a:pt x="222648" y="67295"/>
                  </a:lnTo>
                  <a:lnTo>
                    <a:pt x="222750" y="67295"/>
                  </a:lnTo>
                  <a:lnTo>
                    <a:pt x="222750" y="66886"/>
                  </a:lnTo>
                  <a:lnTo>
                    <a:pt x="222852" y="67091"/>
                  </a:lnTo>
                  <a:lnTo>
                    <a:pt x="222545" y="65864"/>
                  </a:lnTo>
                  <a:lnTo>
                    <a:pt x="219375" y="61773"/>
                  </a:lnTo>
                  <a:lnTo>
                    <a:pt x="219477" y="61773"/>
                  </a:lnTo>
                  <a:lnTo>
                    <a:pt x="218659" y="60239"/>
                  </a:lnTo>
                  <a:lnTo>
                    <a:pt x="219170" y="58398"/>
                  </a:lnTo>
                  <a:lnTo>
                    <a:pt x="219682" y="58500"/>
                  </a:lnTo>
                  <a:lnTo>
                    <a:pt x="220602" y="57477"/>
                  </a:lnTo>
                  <a:lnTo>
                    <a:pt x="221216" y="57989"/>
                  </a:lnTo>
                  <a:lnTo>
                    <a:pt x="221625" y="57682"/>
                  </a:lnTo>
                  <a:lnTo>
                    <a:pt x="221830" y="57886"/>
                  </a:lnTo>
                  <a:lnTo>
                    <a:pt x="221830" y="58500"/>
                  </a:lnTo>
                  <a:lnTo>
                    <a:pt x="222239" y="59011"/>
                  </a:lnTo>
                  <a:lnTo>
                    <a:pt x="222136" y="59011"/>
                  </a:lnTo>
                  <a:lnTo>
                    <a:pt x="222545" y="59114"/>
                  </a:lnTo>
                  <a:lnTo>
                    <a:pt x="222239" y="58500"/>
                  </a:lnTo>
                  <a:lnTo>
                    <a:pt x="222443" y="58091"/>
                  </a:lnTo>
                  <a:lnTo>
                    <a:pt x="224080" y="57477"/>
                  </a:lnTo>
                  <a:lnTo>
                    <a:pt x="224591" y="57477"/>
                  </a:lnTo>
                  <a:lnTo>
                    <a:pt x="224693" y="57170"/>
                  </a:lnTo>
                  <a:lnTo>
                    <a:pt x="225102" y="57068"/>
                  </a:lnTo>
                  <a:lnTo>
                    <a:pt x="224795" y="56455"/>
                  </a:lnTo>
                  <a:lnTo>
                    <a:pt x="225000" y="56250"/>
                  </a:lnTo>
                  <a:lnTo>
                    <a:pt x="225716" y="57068"/>
                  </a:lnTo>
                  <a:lnTo>
                    <a:pt x="226023" y="56659"/>
                  </a:lnTo>
                  <a:lnTo>
                    <a:pt x="226125" y="56761"/>
                  </a:lnTo>
                  <a:lnTo>
                    <a:pt x="226534" y="56659"/>
                  </a:lnTo>
                  <a:lnTo>
                    <a:pt x="226739" y="56659"/>
                  </a:lnTo>
                  <a:lnTo>
                    <a:pt x="226739" y="56557"/>
                  </a:lnTo>
                  <a:lnTo>
                    <a:pt x="227352" y="56455"/>
                  </a:lnTo>
                  <a:lnTo>
                    <a:pt x="227761" y="55739"/>
                  </a:lnTo>
                  <a:lnTo>
                    <a:pt x="228170" y="55739"/>
                  </a:lnTo>
                  <a:lnTo>
                    <a:pt x="228375" y="55534"/>
                  </a:lnTo>
                  <a:lnTo>
                    <a:pt x="228477" y="54920"/>
                  </a:lnTo>
                  <a:lnTo>
                    <a:pt x="229807" y="54000"/>
                  </a:lnTo>
                  <a:lnTo>
                    <a:pt x="229705" y="53386"/>
                  </a:lnTo>
                  <a:lnTo>
                    <a:pt x="229193" y="53182"/>
                  </a:lnTo>
                  <a:lnTo>
                    <a:pt x="229807" y="52977"/>
                  </a:lnTo>
                  <a:lnTo>
                    <a:pt x="229398" y="52466"/>
                  </a:lnTo>
                  <a:lnTo>
                    <a:pt x="229602" y="52466"/>
                  </a:lnTo>
                  <a:lnTo>
                    <a:pt x="229807" y="52670"/>
                  </a:lnTo>
                  <a:lnTo>
                    <a:pt x="230318" y="50932"/>
                  </a:lnTo>
                  <a:lnTo>
                    <a:pt x="230727" y="50932"/>
                  </a:lnTo>
                  <a:lnTo>
                    <a:pt x="230523" y="50318"/>
                  </a:lnTo>
                  <a:lnTo>
                    <a:pt x="230625" y="50318"/>
                  </a:lnTo>
                  <a:lnTo>
                    <a:pt x="230318" y="50114"/>
                  </a:lnTo>
                  <a:lnTo>
                    <a:pt x="230727" y="50114"/>
                  </a:lnTo>
                  <a:lnTo>
                    <a:pt x="230625" y="49602"/>
                  </a:lnTo>
                  <a:lnTo>
                    <a:pt x="230318" y="49705"/>
                  </a:lnTo>
                  <a:lnTo>
                    <a:pt x="230625" y="49295"/>
                  </a:lnTo>
                  <a:lnTo>
                    <a:pt x="229807" y="48886"/>
                  </a:lnTo>
                  <a:lnTo>
                    <a:pt x="229295" y="49091"/>
                  </a:lnTo>
                  <a:lnTo>
                    <a:pt x="228886" y="48989"/>
                  </a:lnTo>
                  <a:lnTo>
                    <a:pt x="230011" y="48273"/>
                  </a:lnTo>
                  <a:lnTo>
                    <a:pt x="229909" y="47966"/>
                  </a:lnTo>
                  <a:lnTo>
                    <a:pt x="228682" y="47148"/>
                  </a:lnTo>
                  <a:lnTo>
                    <a:pt x="228170" y="47250"/>
                  </a:lnTo>
                  <a:lnTo>
                    <a:pt x="228477" y="47045"/>
                  </a:lnTo>
                  <a:lnTo>
                    <a:pt x="229807" y="47455"/>
                  </a:lnTo>
                  <a:lnTo>
                    <a:pt x="226227" y="44080"/>
                  </a:lnTo>
                  <a:lnTo>
                    <a:pt x="226739" y="43057"/>
                  </a:lnTo>
                  <a:lnTo>
                    <a:pt x="226534" y="42750"/>
                  </a:lnTo>
                  <a:lnTo>
                    <a:pt x="226534" y="42750"/>
                  </a:lnTo>
                  <a:lnTo>
                    <a:pt x="226739" y="42955"/>
                  </a:lnTo>
                  <a:lnTo>
                    <a:pt x="227045" y="42545"/>
                  </a:lnTo>
                  <a:lnTo>
                    <a:pt x="226943" y="42341"/>
                  </a:lnTo>
                  <a:lnTo>
                    <a:pt x="228170" y="41932"/>
                  </a:lnTo>
                  <a:lnTo>
                    <a:pt x="228170" y="41523"/>
                  </a:lnTo>
                  <a:lnTo>
                    <a:pt x="225920" y="41216"/>
                  </a:lnTo>
                  <a:lnTo>
                    <a:pt x="225511" y="41830"/>
                  </a:lnTo>
                  <a:lnTo>
                    <a:pt x="225000" y="41625"/>
                  </a:lnTo>
                  <a:lnTo>
                    <a:pt x="224898" y="41216"/>
                  </a:lnTo>
                  <a:lnTo>
                    <a:pt x="223159" y="39989"/>
                  </a:lnTo>
                  <a:lnTo>
                    <a:pt x="224182" y="39580"/>
                  </a:lnTo>
                  <a:lnTo>
                    <a:pt x="224284" y="38966"/>
                  </a:lnTo>
                  <a:lnTo>
                    <a:pt x="224898" y="38659"/>
                  </a:lnTo>
                  <a:lnTo>
                    <a:pt x="225000" y="38250"/>
                  </a:lnTo>
                  <a:lnTo>
                    <a:pt x="225614" y="37943"/>
                  </a:lnTo>
                  <a:lnTo>
                    <a:pt x="226227" y="38557"/>
                  </a:lnTo>
                  <a:lnTo>
                    <a:pt x="226023" y="39477"/>
                  </a:lnTo>
                  <a:lnTo>
                    <a:pt x="226432" y="39477"/>
                  </a:lnTo>
                  <a:lnTo>
                    <a:pt x="226432" y="39784"/>
                  </a:lnTo>
                  <a:lnTo>
                    <a:pt x="226125" y="39989"/>
                  </a:lnTo>
                  <a:lnTo>
                    <a:pt x="226534" y="39989"/>
                  </a:lnTo>
                  <a:lnTo>
                    <a:pt x="226636" y="39886"/>
                  </a:lnTo>
                  <a:lnTo>
                    <a:pt x="228273" y="38864"/>
                  </a:lnTo>
                  <a:lnTo>
                    <a:pt x="228682" y="39273"/>
                  </a:lnTo>
                  <a:lnTo>
                    <a:pt x="228784" y="39068"/>
                  </a:lnTo>
                  <a:lnTo>
                    <a:pt x="229500" y="39580"/>
                  </a:lnTo>
                  <a:lnTo>
                    <a:pt x="229602" y="40091"/>
                  </a:lnTo>
                  <a:lnTo>
                    <a:pt x="229909" y="40193"/>
                  </a:lnTo>
                  <a:lnTo>
                    <a:pt x="229500" y="40807"/>
                  </a:lnTo>
                  <a:lnTo>
                    <a:pt x="230011" y="40807"/>
                  </a:lnTo>
                  <a:lnTo>
                    <a:pt x="229807" y="41011"/>
                  </a:lnTo>
                  <a:lnTo>
                    <a:pt x="230114" y="41114"/>
                  </a:lnTo>
                  <a:lnTo>
                    <a:pt x="230216" y="41216"/>
                  </a:lnTo>
                  <a:lnTo>
                    <a:pt x="230420" y="41114"/>
                  </a:lnTo>
                  <a:lnTo>
                    <a:pt x="230523" y="40909"/>
                  </a:lnTo>
                  <a:lnTo>
                    <a:pt x="231955" y="42136"/>
                  </a:lnTo>
                  <a:lnTo>
                    <a:pt x="231341" y="42136"/>
                  </a:lnTo>
                  <a:lnTo>
                    <a:pt x="232670" y="44182"/>
                  </a:lnTo>
                  <a:lnTo>
                    <a:pt x="232568" y="44284"/>
                  </a:lnTo>
                  <a:lnTo>
                    <a:pt x="232670" y="44386"/>
                  </a:lnTo>
                  <a:lnTo>
                    <a:pt x="232466" y="44386"/>
                  </a:lnTo>
                  <a:lnTo>
                    <a:pt x="232875" y="44795"/>
                  </a:lnTo>
                  <a:lnTo>
                    <a:pt x="233080" y="44591"/>
                  </a:lnTo>
                  <a:lnTo>
                    <a:pt x="233182" y="44284"/>
                  </a:lnTo>
                  <a:lnTo>
                    <a:pt x="233489" y="44489"/>
                  </a:lnTo>
                  <a:lnTo>
                    <a:pt x="233386" y="44284"/>
                  </a:lnTo>
                  <a:lnTo>
                    <a:pt x="233591" y="44284"/>
                  </a:lnTo>
                  <a:lnTo>
                    <a:pt x="233693" y="44080"/>
                  </a:lnTo>
                  <a:lnTo>
                    <a:pt x="234205" y="44182"/>
                  </a:lnTo>
                  <a:lnTo>
                    <a:pt x="234614" y="43875"/>
                  </a:lnTo>
                  <a:lnTo>
                    <a:pt x="234614" y="42955"/>
                  </a:lnTo>
                  <a:lnTo>
                    <a:pt x="231034" y="39170"/>
                  </a:lnTo>
                  <a:lnTo>
                    <a:pt x="232261" y="38045"/>
                  </a:lnTo>
                  <a:lnTo>
                    <a:pt x="232057" y="36205"/>
                  </a:lnTo>
                  <a:lnTo>
                    <a:pt x="232057" y="36205"/>
                  </a:lnTo>
                  <a:lnTo>
                    <a:pt x="232364" y="36307"/>
                  </a:lnTo>
                  <a:lnTo>
                    <a:pt x="232670" y="35591"/>
                  </a:lnTo>
                  <a:lnTo>
                    <a:pt x="232977" y="35591"/>
                  </a:lnTo>
                  <a:lnTo>
                    <a:pt x="234102" y="36102"/>
                  </a:lnTo>
                  <a:lnTo>
                    <a:pt x="235739" y="30273"/>
                  </a:lnTo>
                  <a:lnTo>
                    <a:pt x="232670" y="25773"/>
                  </a:lnTo>
                  <a:lnTo>
                    <a:pt x="232670" y="25466"/>
                  </a:lnTo>
                  <a:lnTo>
                    <a:pt x="229909" y="24545"/>
                  </a:lnTo>
                  <a:lnTo>
                    <a:pt x="230420" y="25159"/>
                  </a:lnTo>
                  <a:lnTo>
                    <a:pt x="230318" y="25364"/>
                  </a:lnTo>
                  <a:lnTo>
                    <a:pt x="230114" y="24955"/>
                  </a:lnTo>
                  <a:lnTo>
                    <a:pt x="230114" y="25159"/>
                  </a:lnTo>
                  <a:lnTo>
                    <a:pt x="229500" y="25261"/>
                  </a:lnTo>
                  <a:lnTo>
                    <a:pt x="229602" y="24955"/>
                  </a:lnTo>
                  <a:lnTo>
                    <a:pt x="228886" y="24648"/>
                  </a:lnTo>
                  <a:lnTo>
                    <a:pt x="229193" y="25057"/>
                  </a:lnTo>
                  <a:lnTo>
                    <a:pt x="226841" y="23830"/>
                  </a:lnTo>
                  <a:lnTo>
                    <a:pt x="228068" y="21068"/>
                  </a:lnTo>
                  <a:lnTo>
                    <a:pt x="227864" y="20761"/>
                  </a:lnTo>
                  <a:lnTo>
                    <a:pt x="228170" y="20455"/>
                  </a:lnTo>
                  <a:lnTo>
                    <a:pt x="228170" y="20045"/>
                  </a:lnTo>
                  <a:lnTo>
                    <a:pt x="231034" y="19841"/>
                  </a:lnTo>
                  <a:lnTo>
                    <a:pt x="231034" y="19636"/>
                  </a:lnTo>
                  <a:lnTo>
                    <a:pt x="232875" y="19841"/>
                  </a:lnTo>
                  <a:lnTo>
                    <a:pt x="232568" y="19534"/>
                  </a:lnTo>
                  <a:lnTo>
                    <a:pt x="232875" y="19636"/>
                  </a:lnTo>
                  <a:lnTo>
                    <a:pt x="232670" y="19432"/>
                  </a:lnTo>
                  <a:lnTo>
                    <a:pt x="233898" y="19534"/>
                  </a:lnTo>
                  <a:lnTo>
                    <a:pt x="233795" y="19636"/>
                  </a:lnTo>
                  <a:lnTo>
                    <a:pt x="235432" y="19841"/>
                  </a:lnTo>
                  <a:lnTo>
                    <a:pt x="234716" y="19943"/>
                  </a:lnTo>
                  <a:lnTo>
                    <a:pt x="236250" y="19943"/>
                  </a:lnTo>
                  <a:lnTo>
                    <a:pt x="236250" y="19841"/>
                  </a:lnTo>
                  <a:lnTo>
                    <a:pt x="236966" y="19943"/>
                  </a:lnTo>
                  <a:lnTo>
                    <a:pt x="237068" y="19841"/>
                  </a:lnTo>
                  <a:lnTo>
                    <a:pt x="237580" y="19841"/>
                  </a:lnTo>
                  <a:lnTo>
                    <a:pt x="236557" y="19636"/>
                  </a:lnTo>
                  <a:lnTo>
                    <a:pt x="236148" y="18818"/>
                  </a:lnTo>
                  <a:lnTo>
                    <a:pt x="236352" y="17489"/>
                  </a:lnTo>
                  <a:lnTo>
                    <a:pt x="238602" y="17693"/>
                  </a:lnTo>
                  <a:lnTo>
                    <a:pt x="239011" y="18205"/>
                  </a:lnTo>
                  <a:lnTo>
                    <a:pt x="239216" y="18102"/>
                  </a:lnTo>
                  <a:lnTo>
                    <a:pt x="239625" y="18511"/>
                  </a:lnTo>
                  <a:lnTo>
                    <a:pt x="239932" y="18409"/>
                  </a:lnTo>
                  <a:lnTo>
                    <a:pt x="240341" y="17591"/>
                  </a:lnTo>
                  <a:lnTo>
                    <a:pt x="240239" y="17489"/>
                  </a:lnTo>
                  <a:lnTo>
                    <a:pt x="240648" y="17693"/>
                  </a:lnTo>
                  <a:lnTo>
                    <a:pt x="239727" y="16773"/>
                  </a:lnTo>
                  <a:lnTo>
                    <a:pt x="241364" y="16875"/>
                  </a:lnTo>
                  <a:lnTo>
                    <a:pt x="240648" y="16875"/>
                  </a:lnTo>
                  <a:lnTo>
                    <a:pt x="241875" y="18307"/>
                  </a:lnTo>
                  <a:lnTo>
                    <a:pt x="241261" y="18614"/>
                  </a:lnTo>
                  <a:lnTo>
                    <a:pt x="241261" y="19432"/>
                  </a:lnTo>
                  <a:lnTo>
                    <a:pt x="241159" y="19534"/>
                  </a:lnTo>
                  <a:lnTo>
                    <a:pt x="241057" y="20966"/>
                  </a:lnTo>
                  <a:lnTo>
                    <a:pt x="240648" y="20966"/>
                  </a:lnTo>
                  <a:lnTo>
                    <a:pt x="240750" y="21170"/>
                  </a:lnTo>
                  <a:lnTo>
                    <a:pt x="240443" y="21273"/>
                  </a:lnTo>
                  <a:lnTo>
                    <a:pt x="240852" y="21784"/>
                  </a:lnTo>
                  <a:lnTo>
                    <a:pt x="240852" y="22398"/>
                  </a:lnTo>
                  <a:lnTo>
                    <a:pt x="246784" y="27716"/>
                  </a:lnTo>
                  <a:lnTo>
                    <a:pt x="247091" y="26898"/>
                  </a:lnTo>
                  <a:lnTo>
                    <a:pt x="246273" y="25773"/>
                  </a:lnTo>
                  <a:lnTo>
                    <a:pt x="246273" y="25773"/>
                  </a:lnTo>
                  <a:lnTo>
                    <a:pt x="246580" y="25977"/>
                  </a:lnTo>
                  <a:lnTo>
                    <a:pt x="247398" y="25773"/>
                  </a:lnTo>
                  <a:lnTo>
                    <a:pt x="246477" y="24852"/>
                  </a:lnTo>
                  <a:lnTo>
                    <a:pt x="246580" y="24341"/>
                  </a:lnTo>
                  <a:lnTo>
                    <a:pt x="247193" y="24341"/>
                  </a:lnTo>
                  <a:lnTo>
                    <a:pt x="246068" y="22705"/>
                  </a:lnTo>
                  <a:lnTo>
                    <a:pt x="246170" y="22398"/>
                  </a:lnTo>
                  <a:lnTo>
                    <a:pt x="246375" y="22807"/>
                  </a:lnTo>
                  <a:lnTo>
                    <a:pt x="246784" y="22705"/>
                  </a:lnTo>
                  <a:lnTo>
                    <a:pt x="245045" y="21170"/>
                  </a:lnTo>
                  <a:lnTo>
                    <a:pt x="244330" y="21068"/>
                  </a:lnTo>
                  <a:lnTo>
                    <a:pt x="244432" y="21273"/>
                  </a:lnTo>
                  <a:lnTo>
                    <a:pt x="243614" y="20761"/>
                  </a:lnTo>
                  <a:lnTo>
                    <a:pt x="243307" y="19943"/>
                  </a:lnTo>
                  <a:lnTo>
                    <a:pt x="243409" y="19943"/>
                  </a:lnTo>
                  <a:lnTo>
                    <a:pt x="242898" y="19227"/>
                  </a:lnTo>
                  <a:lnTo>
                    <a:pt x="244023" y="19227"/>
                  </a:lnTo>
                  <a:lnTo>
                    <a:pt x="243818" y="19023"/>
                  </a:lnTo>
                  <a:lnTo>
                    <a:pt x="244330" y="18716"/>
                  </a:lnTo>
                  <a:lnTo>
                    <a:pt x="244943" y="19227"/>
                  </a:lnTo>
                  <a:lnTo>
                    <a:pt x="244943" y="18920"/>
                  </a:lnTo>
                  <a:lnTo>
                    <a:pt x="245250" y="18716"/>
                  </a:lnTo>
                  <a:lnTo>
                    <a:pt x="247807" y="19125"/>
                  </a:lnTo>
                  <a:lnTo>
                    <a:pt x="247398" y="18716"/>
                  </a:lnTo>
                  <a:lnTo>
                    <a:pt x="247909" y="18102"/>
                  </a:lnTo>
                  <a:lnTo>
                    <a:pt x="247807" y="18000"/>
                  </a:lnTo>
                  <a:lnTo>
                    <a:pt x="247909" y="17898"/>
                  </a:lnTo>
                  <a:lnTo>
                    <a:pt x="248011" y="17898"/>
                  </a:lnTo>
                  <a:lnTo>
                    <a:pt x="247807" y="17693"/>
                  </a:lnTo>
                  <a:lnTo>
                    <a:pt x="248011" y="17795"/>
                  </a:lnTo>
                  <a:lnTo>
                    <a:pt x="248011" y="17489"/>
                  </a:lnTo>
                  <a:lnTo>
                    <a:pt x="249545" y="16773"/>
                  </a:lnTo>
                  <a:lnTo>
                    <a:pt x="249136" y="16568"/>
                  </a:lnTo>
                  <a:lnTo>
                    <a:pt x="251182" y="16977"/>
                  </a:lnTo>
                  <a:lnTo>
                    <a:pt x="251080" y="16670"/>
                  </a:lnTo>
                  <a:lnTo>
                    <a:pt x="249443" y="15852"/>
                  </a:lnTo>
                  <a:lnTo>
                    <a:pt x="249443" y="15852"/>
                  </a:lnTo>
                  <a:lnTo>
                    <a:pt x="249545" y="15955"/>
                  </a:lnTo>
                  <a:lnTo>
                    <a:pt x="249545" y="15955"/>
                  </a:lnTo>
                  <a:lnTo>
                    <a:pt x="249136" y="15750"/>
                  </a:lnTo>
                  <a:lnTo>
                    <a:pt x="249239" y="15750"/>
                  </a:lnTo>
                  <a:lnTo>
                    <a:pt x="248011" y="15034"/>
                  </a:lnTo>
                  <a:lnTo>
                    <a:pt x="248114" y="15239"/>
                  </a:lnTo>
                  <a:lnTo>
                    <a:pt x="245045" y="14830"/>
                  </a:lnTo>
                  <a:lnTo>
                    <a:pt x="246682" y="14625"/>
                  </a:lnTo>
                  <a:lnTo>
                    <a:pt x="245761" y="14420"/>
                  </a:lnTo>
                  <a:lnTo>
                    <a:pt x="248318" y="14420"/>
                  </a:lnTo>
                  <a:lnTo>
                    <a:pt x="237375" y="10125"/>
                  </a:lnTo>
                  <a:lnTo>
                    <a:pt x="237477" y="10227"/>
                  </a:lnTo>
                  <a:lnTo>
                    <a:pt x="235330" y="10023"/>
                  </a:lnTo>
                  <a:lnTo>
                    <a:pt x="236864" y="11148"/>
                  </a:lnTo>
                  <a:lnTo>
                    <a:pt x="236864" y="11148"/>
                  </a:lnTo>
                  <a:lnTo>
                    <a:pt x="234000" y="10330"/>
                  </a:lnTo>
                  <a:lnTo>
                    <a:pt x="233795" y="10432"/>
                  </a:lnTo>
                  <a:lnTo>
                    <a:pt x="230523" y="10432"/>
                  </a:lnTo>
                  <a:lnTo>
                    <a:pt x="231136" y="11352"/>
                  </a:lnTo>
                  <a:lnTo>
                    <a:pt x="231136" y="11352"/>
                  </a:lnTo>
                  <a:lnTo>
                    <a:pt x="222034" y="9205"/>
                  </a:lnTo>
                  <a:lnTo>
                    <a:pt x="222239" y="9205"/>
                  </a:lnTo>
                  <a:lnTo>
                    <a:pt x="219375" y="8591"/>
                  </a:lnTo>
                  <a:lnTo>
                    <a:pt x="219886" y="8489"/>
                  </a:lnTo>
                  <a:lnTo>
                    <a:pt x="217636" y="8080"/>
                  </a:lnTo>
                  <a:lnTo>
                    <a:pt x="217330" y="8591"/>
                  </a:lnTo>
                  <a:lnTo>
                    <a:pt x="216614" y="8489"/>
                  </a:lnTo>
                  <a:lnTo>
                    <a:pt x="217023" y="8489"/>
                  </a:lnTo>
                  <a:lnTo>
                    <a:pt x="216716" y="8182"/>
                  </a:lnTo>
                  <a:lnTo>
                    <a:pt x="215693" y="8182"/>
                  </a:lnTo>
                  <a:lnTo>
                    <a:pt x="216920" y="8080"/>
                  </a:lnTo>
                  <a:lnTo>
                    <a:pt x="212727" y="7670"/>
                  </a:lnTo>
                  <a:lnTo>
                    <a:pt x="213341" y="7875"/>
                  </a:lnTo>
                  <a:lnTo>
                    <a:pt x="212420" y="8080"/>
                  </a:lnTo>
                  <a:lnTo>
                    <a:pt x="213239" y="8182"/>
                  </a:lnTo>
                  <a:lnTo>
                    <a:pt x="213034" y="8284"/>
                  </a:lnTo>
                  <a:lnTo>
                    <a:pt x="212932" y="8386"/>
                  </a:lnTo>
                  <a:lnTo>
                    <a:pt x="213852" y="8795"/>
                  </a:lnTo>
                  <a:lnTo>
                    <a:pt x="212830" y="8795"/>
                  </a:lnTo>
                  <a:lnTo>
                    <a:pt x="213034" y="9000"/>
                  </a:lnTo>
                  <a:lnTo>
                    <a:pt x="212830" y="9000"/>
                  </a:lnTo>
                  <a:lnTo>
                    <a:pt x="213034" y="9102"/>
                  </a:lnTo>
                  <a:lnTo>
                    <a:pt x="210886" y="8693"/>
                  </a:lnTo>
                  <a:lnTo>
                    <a:pt x="210580" y="8898"/>
                  </a:lnTo>
                  <a:lnTo>
                    <a:pt x="208739" y="8591"/>
                  </a:lnTo>
                  <a:lnTo>
                    <a:pt x="209045" y="9000"/>
                  </a:lnTo>
                  <a:lnTo>
                    <a:pt x="209045" y="9409"/>
                  </a:lnTo>
                  <a:lnTo>
                    <a:pt x="208534" y="9307"/>
                  </a:lnTo>
                  <a:lnTo>
                    <a:pt x="206591" y="8693"/>
                  </a:lnTo>
                  <a:lnTo>
                    <a:pt x="206898" y="8591"/>
                  </a:lnTo>
                  <a:lnTo>
                    <a:pt x="205057" y="8080"/>
                  </a:lnTo>
                  <a:lnTo>
                    <a:pt x="206386" y="8284"/>
                  </a:lnTo>
                  <a:lnTo>
                    <a:pt x="205364" y="7977"/>
                  </a:lnTo>
                  <a:lnTo>
                    <a:pt x="205773" y="7773"/>
                  </a:lnTo>
                  <a:lnTo>
                    <a:pt x="201068" y="7057"/>
                  </a:lnTo>
                  <a:lnTo>
                    <a:pt x="201682" y="7364"/>
                  </a:lnTo>
                  <a:lnTo>
                    <a:pt x="201170" y="7568"/>
                  </a:lnTo>
                  <a:lnTo>
                    <a:pt x="201477" y="7670"/>
                  </a:lnTo>
                  <a:lnTo>
                    <a:pt x="198205" y="7159"/>
                  </a:lnTo>
                  <a:lnTo>
                    <a:pt x="195034" y="7159"/>
                  </a:lnTo>
                  <a:lnTo>
                    <a:pt x="195443" y="7261"/>
                  </a:lnTo>
                  <a:lnTo>
                    <a:pt x="195545" y="7568"/>
                  </a:lnTo>
                  <a:lnTo>
                    <a:pt x="195955" y="7875"/>
                  </a:lnTo>
                  <a:lnTo>
                    <a:pt x="195545" y="7670"/>
                  </a:lnTo>
                  <a:lnTo>
                    <a:pt x="195545" y="7568"/>
                  </a:lnTo>
                  <a:lnTo>
                    <a:pt x="194830" y="7159"/>
                  </a:lnTo>
                  <a:lnTo>
                    <a:pt x="194830" y="6955"/>
                  </a:lnTo>
                  <a:lnTo>
                    <a:pt x="194216" y="6750"/>
                  </a:lnTo>
                  <a:lnTo>
                    <a:pt x="194011" y="6955"/>
                  </a:lnTo>
                  <a:lnTo>
                    <a:pt x="193193" y="6750"/>
                  </a:lnTo>
                  <a:lnTo>
                    <a:pt x="193295" y="6750"/>
                  </a:lnTo>
                  <a:lnTo>
                    <a:pt x="192989" y="6648"/>
                  </a:lnTo>
                  <a:lnTo>
                    <a:pt x="193091" y="6750"/>
                  </a:lnTo>
                  <a:lnTo>
                    <a:pt x="192375" y="6955"/>
                  </a:lnTo>
                  <a:lnTo>
                    <a:pt x="193193" y="6955"/>
                  </a:lnTo>
                  <a:lnTo>
                    <a:pt x="190432" y="7773"/>
                  </a:lnTo>
                  <a:lnTo>
                    <a:pt x="191966" y="6648"/>
                  </a:lnTo>
                  <a:lnTo>
                    <a:pt x="191966" y="6443"/>
                  </a:lnTo>
                  <a:lnTo>
                    <a:pt x="193193" y="5830"/>
                  </a:lnTo>
                  <a:lnTo>
                    <a:pt x="192068" y="5216"/>
                  </a:lnTo>
                  <a:lnTo>
                    <a:pt x="192068" y="5216"/>
                  </a:lnTo>
                  <a:lnTo>
                    <a:pt x="192989" y="5523"/>
                  </a:lnTo>
                  <a:lnTo>
                    <a:pt x="191966" y="4909"/>
                  </a:lnTo>
                  <a:lnTo>
                    <a:pt x="191966" y="5114"/>
                  </a:lnTo>
                  <a:lnTo>
                    <a:pt x="188489" y="4602"/>
                  </a:lnTo>
                  <a:lnTo>
                    <a:pt x="188489" y="4602"/>
                  </a:lnTo>
                  <a:lnTo>
                    <a:pt x="188591" y="4705"/>
                  </a:lnTo>
                  <a:lnTo>
                    <a:pt x="187670" y="4705"/>
                  </a:lnTo>
                  <a:lnTo>
                    <a:pt x="187977" y="4398"/>
                  </a:lnTo>
                  <a:lnTo>
                    <a:pt x="185830" y="4295"/>
                  </a:lnTo>
                  <a:lnTo>
                    <a:pt x="186648" y="4091"/>
                  </a:lnTo>
                  <a:lnTo>
                    <a:pt x="185114" y="3784"/>
                  </a:lnTo>
                  <a:close/>
                  <a:moveTo>
                    <a:pt x="252818" y="91125"/>
                  </a:moveTo>
                  <a:lnTo>
                    <a:pt x="252307" y="92455"/>
                  </a:lnTo>
                  <a:lnTo>
                    <a:pt x="252205" y="92352"/>
                  </a:lnTo>
                  <a:lnTo>
                    <a:pt x="252000" y="92966"/>
                  </a:lnTo>
                  <a:lnTo>
                    <a:pt x="252102" y="93170"/>
                  </a:lnTo>
                  <a:lnTo>
                    <a:pt x="250364" y="97875"/>
                  </a:lnTo>
                  <a:lnTo>
                    <a:pt x="249341" y="98080"/>
                  </a:lnTo>
                  <a:lnTo>
                    <a:pt x="246375" y="95727"/>
                  </a:lnTo>
                  <a:lnTo>
                    <a:pt x="246170" y="95011"/>
                  </a:lnTo>
                  <a:lnTo>
                    <a:pt x="246886" y="93580"/>
                  </a:lnTo>
                  <a:lnTo>
                    <a:pt x="247091" y="93682"/>
                  </a:lnTo>
                  <a:lnTo>
                    <a:pt x="247705" y="92761"/>
                  </a:lnTo>
                  <a:lnTo>
                    <a:pt x="247193" y="92455"/>
                  </a:lnTo>
                  <a:lnTo>
                    <a:pt x="247091" y="92864"/>
                  </a:lnTo>
                  <a:lnTo>
                    <a:pt x="246784" y="92352"/>
                  </a:lnTo>
                  <a:lnTo>
                    <a:pt x="246886" y="92148"/>
                  </a:lnTo>
                  <a:lnTo>
                    <a:pt x="246886" y="92148"/>
                  </a:lnTo>
                  <a:lnTo>
                    <a:pt x="246170" y="92557"/>
                  </a:lnTo>
                  <a:lnTo>
                    <a:pt x="244227" y="91841"/>
                  </a:lnTo>
                  <a:lnTo>
                    <a:pt x="244023" y="91841"/>
                  </a:lnTo>
                  <a:lnTo>
                    <a:pt x="243716" y="91534"/>
                  </a:lnTo>
                  <a:lnTo>
                    <a:pt x="243307" y="91534"/>
                  </a:lnTo>
                  <a:lnTo>
                    <a:pt x="243818" y="91841"/>
                  </a:lnTo>
                  <a:lnTo>
                    <a:pt x="243920" y="92455"/>
                  </a:lnTo>
                  <a:lnTo>
                    <a:pt x="243614" y="92659"/>
                  </a:lnTo>
                  <a:lnTo>
                    <a:pt x="242591" y="92455"/>
                  </a:lnTo>
                  <a:lnTo>
                    <a:pt x="242182" y="92966"/>
                  </a:lnTo>
                  <a:lnTo>
                    <a:pt x="241977" y="92864"/>
                  </a:lnTo>
                  <a:lnTo>
                    <a:pt x="241977" y="93068"/>
                  </a:lnTo>
                  <a:lnTo>
                    <a:pt x="241773" y="93068"/>
                  </a:lnTo>
                  <a:lnTo>
                    <a:pt x="241466" y="93375"/>
                  </a:lnTo>
                  <a:lnTo>
                    <a:pt x="241466" y="93784"/>
                  </a:lnTo>
                  <a:lnTo>
                    <a:pt x="241159" y="93989"/>
                  </a:lnTo>
                  <a:lnTo>
                    <a:pt x="240852" y="95011"/>
                  </a:lnTo>
                  <a:lnTo>
                    <a:pt x="240955" y="95318"/>
                  </a:lnTo>
                  <a:lnTo>
                    <a:pt x="240750" y="95625"/>
                  </a:lnTo>
                  <a:lnTo>
                    <a:pt x="239420" y="95727"/>
                  </a:lnTo>
                  <a:lnTo>
                    <a:pt x="239318" y="95727"/>
                  </a:lnTo>
                  <a:lnTo>
                    <a:pt x="239318" y="95011"/>
                  </a:lnTo>
                  <a:lnTo>
                    <a:pt x="238500" y="94193"/>
                  </a:lnTo>
                  <a:lnTo>
                    <a:pt x="238295" y="94500"/>
                  </a:lnTo>
                  <a:lnTo>
                    <a:pt x="237784" y="94602"/>
                  </a:lnTo>
                  <a:lnTo>
                    <a:pt x="237375" y="95114"/>
                  </a:lnTo>
                  <a:lnTo>
                    <a:pt x="237273" y="95011"/>
                  </a:lnTo>
                  <a:lnTo>
                    <a:pt x="237273" y="94705"/>
                  </a:lnTo>
                  <a:lnTo>
                    <a:pt x="236557" y="95932"/>
                  </a:lnTo>
                  <a:lnTo>
                    <a:pt x="236250" y="95727"/>
                  </a:lnTo>
                  <a:lnTo>
                    <a:pt x="235943" y="96443"/>
                  </a:lnTo>
                  <a:lnTo>
                    <a:pt x="236148" y="96341"/>
                  </a:lnTo>
                  <a:lnTo>
                    <a:pt x="236045" y="96545"/>
                  </a:lnTo>
                  <a:lnTo>
                    <a:pt x="235841" y="96648"/>
                  </a:lnTo>
                  <a:lnTo>
                    <a:pt x="236148" y="96955"/>
                  </a:lnTo>
                  <a:lnTo>
                    <a:pt x="235023" y="97057"/>
                  </a:lnTo>
                  <a:lnTo>
                    <a:pt x="235125" y="97670"/>
                  </a:lnTo>
                  <a:lnTo>
                    <a:pt x="234818" y="98080"/>
                  </a:lnTo>
                  <a:lnTo>
                    <a:pt x="234614" y="97364"/>
                  </a:lnTo>
                  <a:lnTo>
                    <a:pt x="234307" y="97159"/>
                  </a:lnTo>
                  <a:lnTo>
                    <a:pt x="233795" y="97568"/>
                  </a:lnTo>
                  <a:lnTo>
                    <a:pt x="233489" y="98795"/>
                  </a:lnTo>
                  <a:lnTo>
                    <a:pt x="225511" y="103193"/>
                  </a:lnTo>
                  <a:lnTo>
                    <a:pt x="225614" y="102477"/>
                  </a:lnTo>
                  <a:lnTo>
                    <a:pt x="224591" y="105034"/>
                  </a:lnTo>
                  <a:lnTo>
                    <a:pt x="224795" y="106466"/>
                  </a:lnTo>
                  <a:lnTo>
                    <a:pt x="224386" y="106977"/>
                  </a:lnTo>
                  <a:lnTo>
                    <a:pt x="224386" y="107386"/>
                  </a:lnTo>
                  <a:lnTo>
                    <a:pt x="224080" y="106875"/>
                  </a:lnTo>
                  <a:lnTo>
                    <a:pt x="223977" y="106977"/>
                  </a:lnTo>
                  <a:lnTo>
                    <a:pt x="223875" y="106977"/>
                  </a:lnTo>
                  <a:lnTo>
                    <a:pt x="224284" y="113318"/>
                  </a:lnTo>
                  <a:lnTo>
                    <a:pt x="222955" y="115261"/>
                  </a:lnTo>
                  <a:lnTo>
                    <a:pt x="223159" y="115364"/>
                  </a:lnTo>
                  <a:lnTo>
                    <a:pt x="223568" y="115773"/>
                  </a:lnTo>
                  <a:lnTo>
                    <a:pt x="228989" y="114852"/>
                  </a:lnTo>
                  <a:lnTo>
                    <a:pt x="229193" y="114955"/>
                  </a:lnTo>
                  <a:lnTo>
                    <a:pt x="237068" y="112500"/>
                  </a:lnTo>
                  <a:lnTo>
                    <a:pt x="239932" y="113216"/>
                  </a:lnTo>
                  <a:lnTo>
                    <a:pt x="240136" y="113523"/>
                  </a:lnTo>
                  <a:lnTo>
                    <a:pt x="240034" y="113727"/>
                  </a:lnTo>
                  <a:lnTo>
                    <a:pt x="240341" y="115364"/>
                  </a:lnTo>
                  <a:lnTo>
                    <a:pt x="240034" y="115568"/>
                  </a:lnTo>
                  <a:lnTo>
                    <a:pt x="240341" y="115977"/>
                  </a:lnTo>
                  <a:lnTo>
                    <a:pt x="240648" y="115977"/>
                  </a:lnTo>
                  <a:lnTo>
                    <a:pt x="240648" y="115670"/>
                  </a:lnTo>
                  <a:lnTo>
                    <a:pt x="243205" y="113523"/>
                  </a:lnTo>
                  <a:lnTo>
                    <a:pt x="241261" y="116284"/>
                  </a:lnTo>
                  <a:lnTo>
                    <a:pt x="242795" y="115159"/>
                  </a:lnTo>
                  <a:lnTo>
                    <a:pt x="242795" y="115977"/>
                  </a:lnTo>
                  <a:lnTo>
                    <a:pt x="242182" y="116693"/>
                  </a:lnTo>
                  <a:lnTo>
                    <a:pt x="242182" y="116693"/>
                  </a:lnTo>
                  <a:lnTo>
                    <a:pt x="242898" y="116489"/>
                  </a:lnTo>
                  <a:lnTo>
                    <a:pt x="243000" y="116591"/>
                  </a:lnTo>
                  <a:lnTo>
                    <a:pt x="243102" y="116591"/>
                  </a:lnTo>
                  <a:lnTo>
                    <a:pt x="243102" y="116693"/>
                  </a:lnTo>
                  <a:lnTo>
                    <a:pt x="243000" y="116591"/>
                  </a:lnTo>
                  <a:lnTo>
                    <a:pt x="242898" y="116591"/>
                  </a:lnTo>
                  <a:lnTo>
                    <a:pt x="243000" y="119148"/>
                  </a:lnTo>
                  <a:lnTo>
                    <a:pt x="244739" y="119864"/>
                  </a:lnTo>
                  <a:lnTo>
                    <a:pt x="246273" y="119352"/>
                  </a:lnTo>
                  <a:lnTo>
                    <a:pt x="246170" y="119352"/>
                  </a:lnTo>
                  <a:lnTo>
                    <a:pt x="246784" y="119148"/>
                  </a:lnTo>
                  <a:lnTo>
                    <a:pt x="246784" y="119148"/>
                  </a:lnTo>
                  <a:lnTo>
                    <a:pt x="246273" y="119557"/>
                  </a:lnTo>
                  <a:lnTo>
                    <a:pt x="246989" y="119557"/>
                  </a:lnTo>
                  <a:lnTo>
                    <a:pt x="246784" y="119761"/>
                  </a:lnTo>
                  <a:lnTo>
                    <a:pt x="247193" y="120375"/>
                  </a:lnTo>
                  <a:lnTo>
                    <a:pt x="247500" y="120068"/>
                  </a:lnTo>
                  <a:lnTo>
                    <a:pt x="247295" y="120068"/>
                  </a:lnTo>
                  <a:lnTo>
                    <a:pt x="254148" y="115057"/>
                  </a:lnTo>
                  <a:lnTo>
                    <a:pt x="254045" y="114955"/>
                  </a:lnTo>
                  <a:lnTo>
                    <a:pt x="258648" y="109432"/>
                  </a:lnTo>
                  <a:lnTo>
                    <a:pt x="259261" y="106773"/>
                  </a:lnTo>
                  <a:lnTo>
                    <a:pt x="258648" y="104932"/>
                  </a:lnTo>
                  <a:lnTo>
                    <a:pt x="258034" y="104420"/>
                  </a:lnTo>
                  <a:lnTo>
                    <a:pt x="257932" y="103193"/>
                  </a:lnTo>
                  <a:lnTo>
                    <a:pt x="257318" y="103193"/>
                  </a:lnTo>
                  <a:lnTo>
                    <a:pt x="257318" y="103091"/>
                  </a:lnTo>
                  <a:lnTo>
                    <a:pt x="257114" y="103091"/>
                  </a:lnTo>
                  <a:lnTo>
                    <a:pt x="256909" y="101148"/>
                  </a:lnTo>
                  <a:lnTo>
                    <a:pt x="254966" y="99614"/>
                  </a:lnTo>
                  <a:lnTo>
                    <a:pt x="254761" y="95318"/>
                  </a:lnTo>
                  <a:lnTo>
                    <a:pt x="254250" y="94807"/>
                  </a:lnTo>
                  <a:lnTo>
                    <a:pt x="253739" y="94909"/>
                  </a:lnTo>
                  <a:lnTo>
                    <a:pt x="252920" y="91227"/>
                  </a:lnTo>
                  <a:lnTo>
                    <a:pt x="252818" y="91125"/>
                  </a:lnTo>
                  <a:close/>
                  <a:moveTo>
                    <a:pt x="272352" y="115466"/>
                  </a:moveTo>
                  <a:lnTo>
                    <a:pt x="272352" y="116591"/>
                  </a:lnTo>
                  <a:lnTo>
                    <a:pt x="272659" y="116386"/>
                  </a:lnTo>
                  <a:lnTo>
                    <a:pt x="272352" y="116693"/>
                  </a:lnTo>
                  <a:lnTo>
                    <a:pt x="272352" y="117511"/>
                  </a:lnTo>
                  <a:lnTo>
                    <a:pt x="272557" y="117000"/>
                  </a:lnTo>
                  <a:lnTo>
                    <a:pt x="272557" y="117307"/>
                  </a:lnTo>
                  <a:lnTo>
                    <a:pt x="272659" y="117205"/>
                  </a:lnTo>
                  <a:lnTo>
                    <a:pt x="272455" y="117716"/>
                  </a:lnTo>
                  <a:lnTo>
                    <a:pt x="272352" y="117614"/>
                  </a:lnTo>
                  <a:lnTo>
                    <a:pt x="272352" y="118125"/>
                  </a:lnTo>
                  <a:lnTo>
                    <a:pt x="272659" y="118227"/>
                  </a:lnTo>
                  <a:lnTo>
                    <a:pt x="272352" y="118330"/>
                  </a:lnTo>
                  <a:lnTo>
                    <a:pt x="272352" y="118227"/>
                  </a:lnTo>
                  <a:lnTo>
                    <a:pt x="270920" y="120170"/>
                  </a:lnTo>
                  <a:lnTo>
                    <a:pt x="270205" y="120477"/>
                  </a:lnTo>
                  <a:lnTo>
                    <a:pt x="270716" y="121398"/>
                  </a:lnTo>
                  <a:lnTo>
                    <a:pt x="269386" y="122523"/>
                  </a:lnTo>
                  <a:lnTo>
                    <a:pt x="269591" y="122420"/>
                  </a:lnTo>
                  <a:lnTo>
                    <a:pt x="269489" y="122625"/>
                  </a:lnTo>
                  <a:lnTo>
                    <a:pt x="270102" y="122625"/>
                  </a:lnTo>
                  <a:lnTo>
                    <a:pt x="275216" y="118739"/>
                  </a:lnTo>
                  <a:lnTo>
                    <a:pt x="274091" y="119148"/>
                  </a:lnTo>
                  <a:lnTo>
                    <a:pt x="273273" y="118739"/>
                  </a:lnTo>
                  <a:lnTo>
                    <a:pt x="273580" y="117818"/>
                  </a:lnTo>
                  <a:lnTo>
                    <a:pt x="273477" y="117818"/>
                  </a:lnTo>
                  <a:lnTo>
                    <a:pt x="273477" y="117614"/>
                  </a:lnTo>
                  <a:lnTo>
                    <a:pt x="273170" y="118330"/>
                  </a:lnTo>
                  <a:lnTo>
                    <a:pt x="272659" y="117920"/>
                  </a:lnTo>
                  <a:lnTo>
                    <a:pt x="273273" y="116284"/>
                  </a:lnTo>
                  <a:lnTo>
                    <a:pt x="273068" y="116386"/>
                  </a:lnTo>
                  <a:lnTo>
                    <a:pt x="272761" y="115875"/>
                  </a:lnTo>
                  <a:lnTo>
                    <a:pt x="272557" y="115977"/>
                  </a:lnTo>
                  <a:lnTo>
                    <a:pt x="272557" y="115977"/>
                  </a:lnTo>
                  <a:lnTo>
                    <a:pt x="272659" y="115466"/>
                  </a:lnTo>
                  <a:close/>
                  <a:moveTo>
                    <a:pt x="246959" y="123166"/>
                  </a:moveTo>
                  <a:lnTo>
                    <a:pt x="246901" y="123224"/>
                  </a:lnTo>
                  <a:lnTo>
                    <a:pt x="246901" y="123224"/>
                  </a:lnTo>
                  <a:lnTo>
                    <a:pt x="246959" y="123166"/>
                  </a:lnTo>
                  <a:close/>
                  <a:moveTo>
                    <a:pt x="246901" y="123224"/>
                  </a:moveTo>
                  <a:lnTo>
                    <a:pt x="246886" y="123239"/>
                  </a:lnTo>
                  <a:lnTo>
                    <a:pt x="246784" y="123443"/>
                  </a:lnTo>
                  <a:lnTo>
                    <a:pt x="246784" y="123443"/>
                  </a:lnTo>
                  <a:lnTo>
                    <a:pt x="246901" y="123224"/>
                  </a:lnTo>
                  <a:close/>
                  <a:moveTo>
                    <a:pt x="244841" y="121807"/>
                  </a:moveTo>
                  <a:lnTo>
                    <a:pt x="244330" y="123341"/>
                  </a:lnTo>
                  <a:lnTo>
                    <a:pt x="244432" y="123341"/>
                  </a:lnTo>
                  <a:lnTo>
                    <a:pt x="244330" y="123648"/>
                  </a:lnTo>
                  <a:lnTo>
                    <a:pt x="244227" y="123443"/>
                  </a:lnTo>
                  <a:lnTo>
                    <a:pt x="244330" y="124466"/>
                  </a:lnTo>
                  <a:lnTo>
                    <a:pt x="244023" y="124670"/>
                  </a:lnTo>
                  <a:lnTo>
                    <a:pt x="244739" y="124670"/>
                  </a:lnTo>
                  <a:lnTo>
                    <a:pt x="245659" y="123955"/>
                  </a:lnTo>
                  <a:lnTo>
                    <a:pt x="245557" y="124159"/>
                  </a:lnTo>
                  <a:lnTo>
                    <a:pt x="245557" y="124159"/>
                  </a:lnTo>
                  <a:lnTo>
                    <a:pt x="245966" y="124057"/>
                  </a:lnTo>
                  <a:lnTo>
                    <a:pt x="245761" y="124364"/>
                  </a:lnTo>
                  <a:lnTo>
                    <a:pt x="246901" y="123224"/>
                  </a:lnTo>
                  <a:lnTo>
                    <a:pt x="247602" y="121909"/>
                  </a:lnTo>
                  <a:lnTo>
                    <a:pt x="246375" y="122318"/>
                  </a:lnTo>
                  <a:lnTo>
                    <a:pt x="244841" y="121807"/>
                  </a:lnTo>
                  <a:close/>
                  <a:moveTo>
                    <a:pt x="265623" y="124957"/>
                  </a:moveTo>
                  <a:lnTo>
                    <a:pt x="265500" y="124977"/>
                  </a:lnTo>
                  <a:lnTo>
                    <a:pt x="265705" y="124977"/>
                  </a:lnTo>
                  <a:lnTo>
                    <a:pt x="265623" y="124957"/>
                  </a:lnTo>
                  <a:close/>
                  <a:moveTo>
                    <a:pt x="268568" y="121705"/>
                  </a:moveTo>
                  <a:lnTo>
                    <a:pt x="265091" y="124057"/>
                  </a:lnTo>
                  <a:lnTo>
                    <a:pt x="265193" y="123852"/>
                  </a:lnTo>
                  <a:lnTo>
                    <a:pt x="265193" y="123852"/>
                  </a:lnTo>
                  <a:lnTo>
                    <a:pt x="264784" y="124159"/>
                  </a:lnTo>
                  <a:lnTo>
                    <a:pt x="264580" y="124261"/>
                  </a:lnTo>
                  <a:lnTo>
                    <a:pt x="264375" y="124261"/>
                  </a:lnTo>
                  <a:lnTo>
                    <a:pt x="264375" y="124364"/>
                  </a:lnTo>
                  <a:lnTo>
                    <a:pt x="260489" y="126102"/>
                  </a:lnTo>
                  <a:lnTo>
                    <a:pt x="260489" y="126102"/>
                  </a:lnTo>
                  <a:lnTo>
                    <a:pt x="260591" y="126000"/>
                  </a:lnTo>
                  <a:lnTo>
                    <a:pt x="259466" y="126818"/>
                  </a:lnTo>
                  <a:lnTo>
                    <a:pt x="259670" y="126818"/>
                  </a:lnTo>
                  <a:lnTo>
                    <a:pt x="259364" y="126920"/>
                  </a:lnTo>
                  <a:lnTo>
                    <a:pt x="259568" y="126920"/>
                  </a:lnTo>
                  <a:lnTo>
                    <a:pt x="259063" y="127173"/>
                  </a:lnTo>
                  <a:lnTo>
                    <a:pt x="259063" y="127173"/>
                  </a:lnTo>
                  <a:lnTo>
                    <a:pt x="259159" y="127125"/>
                  </a:lnTo>
                  <a:lnTo>
                    <a:pt x="258955" y="127330"/>
                  </a:lnTo>
                  <a:lnTo>
                    <a:pt x="259261" y="127227"/>
                  </a:lnTo>
                  <a:lnTo>
                    <a:pt x="258955" y="127432"/>
                  </a:lnTo>
                  <a:lnTo>
                    <a:pt x="259670" y="127636"/>
                  </a:lnTo>
                  <a:lnTo>
                    <a:pt x="259875" y="127841"/>
                  </a:lnTo>
                  <a:lnTo>
                    <a:pt x="265295" y="124875"/>
                  </a:lnTo>
                  <a:lnTo>
                    <a:pt x="265623" y="124957"/>
                  </a:lnTo>
                  <a:lnTo>
                    <a:pt x="265623" y="124957"/>
                  </a:lnTo>
                  <a:lnTo>
                    <a:pt x="266114" y="124875"/>
                  </a:lnTo>
                  <a:lnTo>
                    <a:pt x="266011" y="124670"/>
                  </a:lnTo>
                  <a:lnTo>
                    <a:pt x="265909" y="124670"/>
                  </a:lnTo>
                  <a:lnTo>
                    <a:pt x="269284" y="122318"/>
                  </a:lnTo>
                  <a:lnTo>
                    <a:pt x="268875" y="122420"/>
                  </a:lnTo>
                  <a:lnTo>
                    <a:pt x="268875" y="122420"/>
                  </a:lnTo>
                  <a:lnTo>
                    <a:pt x="269080" y="122318"/>
                  </a:lnTo>
                  <a:lnTo>
                    <a:pt x="269284" y="122216"/>
                  </a:lnTo>
                  <a:lnTo>
                    <a:pt x="269284" y="122216"/>
                  </a:lnTo>
                  <a:lnTo>
                    <a:pt x="268670" y="122420"/>
                  </a:lnTo>
                  <a:lnTo>
                    <a:pt x="269080" y="122114"/>
                  </a:lnTo>
                  <a:lnTo>
                    <a:pt x="268159" y="122420"/>
                  </a:lnTo>
                  <a:lnTo>
                    <a:pt x="268261" y="122011"/>
                  </a:lnTo>
                  <a:lnTo>
                    <a:pt x="268568" y="121705"/>
                  </a:lnTo>
                  <a:close/>
                  <a:moveTo>
                    <a:pt x="76909" y="132648"/>
                  </a:moveTo>
                  <a:lnTo>
                    <a:pt x="77216" y="132852"/>
                  </a:lnTo>
                  <a:lnTo>
                    <a:pt x="77011" y="132955"/>
                  </a:lnTo>
                  <a:lnTo>
                    <a:pt x="77216" y="133057"/>
                  </a:lnTo>
                  <a:lnTo>
                    <a:pt x="76807" y="133261"/>
                  </a:lnTo>
                  <a:lnTo>
                    <a:pt x="77625" y="133057"/>
                  </a:lnTo>
                  <a:lnTo>
                    <a:pt x="77830" y="132750"/>
                  </a:lnTo>
                  <a:lnTo>
                    <a:pt x="76909" y="132648"/>
                  </a:lnTo>
                  <a:close/>
                  <a:moveTo>
                    <a:pt x="78136" y="132545"/>
                  </a:moveTo>
                  <a:lnTo>
                    <a:pt x="78136" y="133261"/>
                  </a:lnTo>
                  <a:lnTo>
                    <a:pt x="78648" y="133364"/>
                  </a:lnTo>
                  <a:lnTo>
                    <a:pt x="78545" y="133159"/>
                  </a:lnTo>
                  <a:lnTo>
                    <a:pt x="78852" y="133057"/>
                  </a:lnTo>
                  <a:lnTo>
                    <a:pt x="78955" y="132852"/>
                  </a:lnTo>
                  <a:lnTo>
                    <a:pt x="79057" y="132750"/>
                  </a:lnTo>
                  <a:lnTo>
                    <a:pt x="78750" y="132852"/>
                  </a:lnTo>
                  <a:lnTo>
                    <a:pt x="78443" y="132648"/>
                  </a:lnTo>
                  <a:lnTo>
                    <a:pt x="78545" y="132648"/>
                  </a:lnTo>
                  <a:lnTo>
                    <a:pt x="78136" y="132545"/>
                  </a:lnTo>
                  <a:close/>
                  <a:moveTo>
                    <a:pt x="78136" y="133261"/>
                  </a:moveTo>
                  <a:lnTo>
                    <a:pt x="78136" y="133568"/>
                  </a:lnTo>
                  <a:lnTo>
                    <a:pt x="78341" y="133364"/>
                  </a:lnTo>
                  <a:lnTo>
                    <a:pt x="78136" y="133261"/>
                  </a:lnTo>
                  <a:close/>
                  <a:moveTo>
                    <a:pt x="68830" y="133875"/>
                  </a:moveTo>
                  <a:lnTo>
                    <a:pt x="67970" y="133970"/>
                  </a:lnTo>
                  <a:lnTo>
                    <a:pt x="67970" y="133970"/>
                  </a:lnTo>
                  <a:lnTo>
                    <a:pt x="68114" y="133875"/>
                  </a:lnTo>
                  <a:close/>
                  <a:moveTo>
                    <a:pt x="63920" y="8386"/>
                  </a:moveTo>
                  <a:lnTo>
                    <a:pt x="62795" y="8795"/>
                  </a:lnTo>
                  <a:lnTo>
                    <a:pt x="63000" y="8795"/>
                  </a:lnTo>
                  <a:lnTo>
                    <a:pt x="62182" y="9000"/>
                  </a:lnTo>
                  <a:lnTo>
                    <a:pt x="61568" y="10330"/>
                  </a:lnTo>
                  <a:lnTo>
                    <a:pt x="62693" y="10534"/>
                  </a:lnTo>
                  <a:lnTo>
                    <a:pt x="62693" y="10636"/>
                  </a:lnTo>
                  <a:lnTo>
                    <a:pt x="62386" y="10739"/>
                  </a:lnTo>
                  <a:lnTo>
                    <a:pt x="62591" y="10636"/>
                  </a:lnTo>
                  <a:lnTo>
                    <a:pt x="61977" y="10841"/>
                  </a:lnTo>
                  <a:lnTo>
                    <a:pt x="62080" y="10841"/>
                  </a:lnTo>
                  <a:lnTo>
                    <a:pt x="61568" y="11148"/>
                  </a:lnTo>
                  <a:lnTo>
                    <a:pt x="62182" y="11250"/>
                  </a:lnTo>
                  <a:lnTo>
                    <a:pt x="60136" y="12068"/>
                  </a:lnTo>
                  <a:lnTo>
                    <a:pt x="59727" y="12784"/>
                  </a:lnTo>
                  <a:lnTo>
                    <a:pt x="59216" y="12784"/>
                  </a:lnTo>
                  <a:lnTo>
                    <a:pt x="59216" y="13091"/>
                  </a:lnTo>
                  <a:lnTo>
                    <a:pt x="59114" y="12682"/>
                  </a:lnTo>
                  <a:lnTo>
                    <a:pt x="59420" y="12682"/>
                  </a:lnTo>
                  <a:lnTo>
                    <a:pt x="59727" y="12477"/>
                  </a:lnTo>
                  <a:lnTo>
                    <a:pt x="59420" y="12477"/>
                  </a:lnTo>
                  <a:lnTo>
                    <a:pt x="60239" y="11557"/>
                  </a:lnTo>
                  <a:lnTo>
                    <a:pt x="59523" y="11761"/>
                  </a:lnTo>
                  <a:lnTo>
                    <a:pt x="59523" y="11761"/>
                  </a:lnTo>
                  <a:lnTo>
                    <a:pt x="59932" y="11557"/>
                  </a:lnTo>
                  <a:lnTo>
                    <a:pt x="59523" y="11557"/>
                  </a:lnTo>
                  <a:lnTo>
                    <a:pt x="59420" y="11352"/>
                  </a:lnTo>
                  <a:lnTo>
                    <a:pt x="58602" y="11455"/>
                  </a:lnTo>
                  <a:lnTo>
                    <a:pt x="58500" y="11864"/>
                  </a:lnTo>
                  <a:lnTo>
                    <a:pt x="59114" y="11966"/>
                  </a:lnTo>
                  <a:lnTo>
                    <a:pt x="58500" y="12068"/>
                  </a:lnTo>
                  <a:lnTo>
                    <a:pt x="58295" y="11761"/>
                  </a:lnTo>
                  <a:lnTo>
                    <a:pt x="58295" y="11966"/>
                  </a:lnTo>
                  <a:lnTo>
                    <a:pt x="54307" y="11557"/>
                  </a:lnTo>
                  <a:lnTo>
                    <a:pt x="53795" y="11045"/>
                  </a:lnTo>
                  <a:lnTo>
                    <a:pt x="51750" y="11557"/>
                  </a:lnTo>
                  <a:lnTo>
                    <a:pt x="54000" y="11250"/>
                  </a:lnTo>
                  <a:lnTo>
                    <a:pt x="54000" y="11250"/>
                  </a:lnTo>
                  <a:lnTo>
                    <a:pt x="52057" y="11966"/>
                  </a:lnTo>
                  <a:lnTo>
                    <a:pt x="51239" y="13193"/>
                  </a:lnTo>
                  <a:lnTo>
                    <a:pt x="50932" y="12068"/>
                  </a:lnTo>
                  <a:lnTo>
                    <a:pt x="50727" y="11966"/>
                  </a:lnTo>
                  <a:lnTo>
                    <a:pt x="50625" y="11864"/>
                  </a:lnTo>
                  <a:lnTo>
                    <a:pt x="46943" y="11864"/>
                  </a:lnTo>
                  <a:lnTo>
                    <a:pt x="48375" y="11455"/>
                  </a:lnTo>
                  <a:lnTo>
                    <a:pt x="42341" y="10636"/>
                  </a:lnTo>
                  <a:lnTo>
                    <a:pt x="42852" y="10330"/>
                  </a:lnTo>
                  <a:lnTo>
                    <a:pt x="43057" y="9920"/>
                  </a:lnTo>
                  <a:lnTo>
                    <a:pt x="42545" y="10023"/>
                  </a:lnTo>
                  <a:lnTo>
                    <a:pt x="42750" y="10125"/>
                  </a:lnTo>
                  <a:lnTo>
                    <a:pt x="41420" y="10636"/>
                  </a:lnTo>
                  <a:lnTo>
                    <a:pt x="41420" y="9920"/>
                  </a:lnTo>
                  <a:lnTo>
                    <a:pt x="40909" y="9716"/>
                  </a:lnTo>
                  <a:lnTo>
                    <a:pt x="40909" y="9716"/>
                  </a:lnTo>
                  <a:lnTo>
                    <a:pt x="41011" y="9818"/>
                  </a:lnTo>
                  <a:lnTo>
                    <a:pt x="41114" y="9818"/>
                  </a:lnTo>
                  <a:lnTo>
                    <a:pt x="39580" y="10330"/>
                  </a:lnTo>
                  <a:lnTo>
                    <a:pt x="39989" y="10125"/>
                  </a:lnTo>
                  <a:lnTo>
                    <a:pt x="37841" y="10739"/>
                  </a:lnTo>
                  <a:lnTo>
                    <a:pt x="38045" y="10534"/>
                  </a:lnTo>
                  <a:lnTo>
                    <a:pt x="37739" y="10636"/>
                  </a:lnTo>
                  <a:lnTo>
                    <a:pt x="37841" y="10636"/>
                  </a:lnTo>
                  <a:lnTo>
                    <a:pt x="36409" y="11045"/>
                  </a:lnTo>
                  <a:lnTo>
                    <a:pt x="36102" y="11045"/>
                  </a:lnTo>
                  <a:lnTo>
                    <a:pt x="35898" y="11148"/>
                  </a:lnTo>
                  <a:lnTo>
                    <a:pt x="35898" y="11045"/>
                  </a:lnTo>
                  <a:lnTo>
                    <a:pt x="36102" y="11045"/>
                  </a:lnTo>
                  <a:lnTo>
                    <a:pt x="39682" y="9920"/>
                  </a:lnTo>
                  <a:lnTo>
                    <a:pt x="37330" y="10330"/>
                  </a:lnTo>
                  <a:lnTo>
                    <a:pt x="37432" y="10330"/>
                  </a:lnTo>
                  <a:lnTo>
                    <a:pt x="35795" y="10739"/>
                  </a:lnTo>
                  <a:lnTo>
                    <a:pt x="36307" y="10534"/>
                  </a:lnTo>
                  <a:lnTo>
                    <a:pt x="34466" y="10841"/>
                  </a:lnTo>
                  <a:lnTo>
                    <a:pt x="34670" y="10943"/>
                  </a:lnTo>
                  <a:lnTo>
                    <a:pt x="34364" y="11045"/>
                  </a:lnTo>
                  <a:lnTo>
                    <a:pt x="34568" y="11148"/>
                  </a:lnTo>
                  <a:lnTo>
                    <a:pt x="25466" y="9716"/>
                  </a:lnTo>
                  <a:lnTo>
                    <a:pt x="25773" y="9614"/>
                  </a:lnTo>
                  <a:lnTo>
                    <a:pt x="25466" y="9614"/>
                  </a:lnTo>
                  <a:lnTo>
                    <a:pt x="25466" y="9511"/>
                  </a:lnTo>
                  <a:lnTo>
                    <a:pt x="25364" y="9511"/>
                  </a:lnTo>
                  <a:lnTo>
                    <a:pt x="25773" y="9409"/>
                  </a:lnTo>
                  <a:lnTo>
                    <a:pt x="24239" y="9307"/>
                  </a:lnTo>
                  <a:lnTo>
                    <a:pt x="24341" y="9205"/>
                  </a:lnTo>
                  <a:lnTo>
                    <a:pt x="23318" y="9409"/>
                  </a:lnTo>
                  <a:lnTo>
                    <a:pt x="23318" y="9307"/>
                  </a:lnTo>
                  <a:lnTo>
                    <a:pt x="24034" y="9102"/>
                  </a:lnTo>
                  <a:lnTo>
                    <a:pt x="23625" y="9000"/>
                  </a:lnTo>
                  <a:lnTo>
                    <a:pt x="23727" y="8898"/>
                  </a:lnTo>
                  <a:lnTo>
                    <a:pt x="23727" y="8898"/>
                  </a:lnTo>
                  <a:lnTo>
                    <a:pt x="21068" y="9409"/>
                  </a:lnTo>
                  <a:lnTo>
                    <a:pt x="21068" y="9409"/>
                  </a:lnTo>
                  <a:lnTo>
                    <a:pt x="21273" y="9307"/>
                  </a:lnTo>
                  <a:lnTo>
                    <a:pt x="20455" y="9511"/>
                  </a:lnTo>
                  <a:lnTo>
                    <a:pt x="20761" y="9614"/>
                  </a:lnTo>
                  <a:lnTo>
                    <a:pt x="20148" y="9818"/>
                  </a:lnTo>
                  <a:lnTo>
                    <a:pt x="20045" y="9818"/>
                  </a:lnTo>
                  <a:lnTo>
                    <a:pt x="20455" y="9614"/>
                  </a:lnTo>
                  <a:lnTo>
                    <a:pt x="18637" y="9901"/>
                  </a:lnTo>
                  <a:lnTo>
                    <a:pt x="18637" y="9901"/>
                  </a:lnTo>
                  <a:lnTo>
                    <a:pt x="13295" y="11455"/>
                  </a:lnTo>
                  <a:lnTo>
                    <a:pt x="13398" y="11455"/>
                  </a:lnTo>
                  <a:lnTo>
                    <a:pt x="13193" y="11557"/>
                  </a:lnTo>
                  <a:lnTo>
                    <a:pt x="14011" y="12273"/>
                  </a:lnTo>
                  <a:lnTo>
                    <a:pt x="13909" y="12682"/>
                  </a:lnTo>
                  <a:lnTo>
                    <a:pt x="14625" y="12580"/>
                  </a:lnTo>
                  <a:lnTo>
                    <a:pt x="14625" y="12580"/>
                  </a:lnTo>
                  <a:lnTo>
                    <a:pt x="14523" y="12682"/>
                  </a:lnTo>
                  <a:lnTo>
                    <a:pt x="14932" y="12682"/>
                  </a:lnTo>
                  <a:lnTo>
                    <a:pt x="14523" y="12989"/>
                  </a:lnTo>
                  <a:lnTo>
                    <a:pt x="15341" y="13091"/>
                  </a:lnTo>
                  <a:lnTo>
                    <a:pt x="14727" y="13193"/>
                  </a:lnTo>
                  <a:lnTo>
                    <a:pt x="14523" y="12989"/>
                  </a:lnTo>
                  <a:lnTo>
                    <a:pt x="14420" y="12886"/>
                  </a:lnTo>
                  <a:lnTo>
                    <a:pt x="14420" y="12784"/>
                  </a:lnTo>
                  <a:lnTo>
                    <a:pt x="14114" y="12989"/>
                  </a:lnTo>
                  <a:lnTo>
                    <a:pt x="14114" y="13295"/>
                  </a:lnTo>
                  <a:lnTo>
                    <a:pt x="14523" y="13295"/>
                  </a:lnTo>
                  <a:lnTo>
                    <a:pt x="14420" y="13398"/>
                  </a:lnTo>
                  <a:lnTo>
                    <a:pt x="12375" y="13398"/>
                  </a:lnTo>
                  <a:lnTo>
                    <a:pt x="12886" y="13091"/>
                  </a:lnTo>
                  <a:lnTo>
                    <a:pt x="11250" y="13398"/>
                  </a:lnTo>
                  <a:lnTo>
                    <a:pt x="11352" y="13398"/>
                  </a:lnTo>
                  <a:lnTo>
                    <a:pt x="9205" y="13909"/>
                  </a:lnTo>
                  <a:lnTo>
                    <a:pt x="9818" y="14216"/>
                  </a:lnTo>
                  <a:lnTo>
                    <a:pt x="9102" y="14318"/>
                  </a:lnTo>
                  <a:lnTo>
                    <a:pt x="9205" y="14523"/>
                  </a:lnTo>
                  <a:lnTo>
                    <a:pt x="9102" y="14932"/>
                  </a:lnTo>
                  <a:lnTo>
                    <a:pt x="11045" y="14932"/>
                  </a:lnTo>
                  <a:lnTo>
                    <a:pt x="11045" y="15034"/>
                  </a:lnTo>
                  <a:lnTo>
                    <a:pt x="12580" y="14625"/>
                  </a:lnTo>
                  <a:lnTo>
                    <a:pt x="12784" y="14830"/>
                  </a:lnTo>
                  <a:lnTo>
                    <a:pt x="12068" y="15034"/>
                  </a:lnTo>
                  <a:lnTo>
                    <a:pt x="11659" y="15648"/>
                  </a:lnTo>
                  <a:lnTo>
                    <a:pt x="10534" y="15852"/>
                  </a:lnTo>
                  <a:lnTo>
                    <a:pt x="8795" y="16261"/>
                  </a:lnTo>
                  <a:lnTo>
                    <a:pt x="8489" y="16159"/>
                  </a:lnTo>
                  <a:lnTo>
                    <a:pt x="7745" y="16624"/>
                  </a:lnTo>
                  <a:lnTo>
                    <a:pt x="7745" y="16624"/>
                  </a:lnTo>
                  <a:lnTo>
                    <a:pt x="5727" y="17489"/>
                  </a:lnTo>
                  <a:lnTo>
                    <a:pt x="5830" y="17489"/>
                  </a:lnTo>
                  <a:lnTo>
                    <a:pt x="5420" y="17693"/>
                  </a:lnTo>
                  <a:lnTo>
                    <a:pt x="5625" y="17693"/>
                  </a:lnTo>
                  <a:lnTo>
                    <a:pt x="5318" y="17898"/>
                  </a:lnTo>
                  <a:lnTo>
                    <a:pt x="5420" y="17898"/>
                  </a:lnTo>
                  <a:lnTo>
                    <a:pt x="5318" y="18102"/>
                  </a:lnTo>
                  <a:lnTo>
                    <a:pt x="5318" y="18102"/>
                  </a:lnTo>
                  <a:lnTo>
                    <a:pt x="5727" y="17898"/>
                  </a:lnTo>
                  <a:lnTo>
                    <a:pt x="5625" y="18000"/>
                  </a:lnTo>
                  <a:lnTo>
                    <a:pt x="5727" y="18000"/>
                  </a:lnTo>
                  <a:lnTo>
                    <a:pt x="5625" y="18102"/>
                  </a:lnTo>
                  <a:lnTo>
                    <a:pt x="5830" y="18102"/>
                  </a:lnTo>
                  <a:lnTo>
                    <a:pt x="5420" y="18205"/>
                  </a:lnTo>
                  <a:lnTo>
                    <a:pt x="6545" y="18307"/>
                  </a:lnTo>
                  <a:lnTo>
                    <a:pt x="6239" y="18307"/>
                  </a:lnTo>
                  <a:lnTo>
                    <a:pt x="6443" y="18409"/>
                  </a:lnTo>
                  <a:lnTo>
                    <a:pt x="6034" y="18614"/>
                  </a:lnTo>
                  <a:lnTo>
                    <a:pt x="6034" y="18614"/>
                  </a:lnTo>
                  <a:lnTo>
                    <a:pt x="6136" y="18409"/>
                  </a:lnTo>
                  <a:lnTo>
                    <a:pt x="5625" y="18511"/>
                  </a:lnTo>
                  <a:lnTo>
                    <a:pt x="5625" y="18307"/>
                  </a:lnTo>
                  <a:lnTo>
                    <a:pt x="4807" y="18614"/>
                  </a:lnTo>
                  <a:lnTo>
                    <a:pt x="5011" y="18614"/>
                  </a:lnTo>
                  <a:lnTo>
                    <a:pt x="5011" y="19227"/>
                  </a:lnTo>
                  <a:lnTo>
                    <a:pt x="7466" y="18511"/>
                  </a:lnTo>
                  <a:lnTo>
                    <a:pt x="7466" y="18511"/>
                  </a:lnTo>
                  <a:lnTo>
                    <a:pt x="5727" y="19943"/>
                  </a:lnTo>
                  <a:lnTo>
                    <a:pt x="5932" y="19943"/>
                  </a:lnTo>
                  <a:lnTo>
                    <a:pt x="5011" y="20352"/>
                  </a:lnTo>
                  <a:lnTo>
                    <a:pt x="6750" y="20045"/>
                  </a:lnTo>
                  <a:lnTo>
                    <a:pt x="7159" y="20352"/>
                  </a:lnTo>
                  <a:lnTo>
                    <a:pt x="8386" y="20045"/>
                  </a:lnTo>
                  <a:lnTo>
                    <a:pt x="8386" y="20045"/>
                  </a:lnTo>
                  <a:lnTo>
                    <a:pt x="7875" y="20352"/>
                  </a:lnTo>
                  <a:lnTo>
                    <a:pt x="7875" y="20352"/>
                  </a:lnTo>
                  <a:lnTo>
                    <a:pt x="9511" y="19943"/>
                  </a:lnTo>
                  <a:lnTo>
                    <a:pt x="8080" y="20761"/>
                  </a:lnTo>
                  <a:lnTo>
                    <a:pt x="8182" y="20864"/>
                  </a:lnTo>
                  <a:lnTo>
                    <a:pt x="5523" y="22193"/>
                  </a:lnTo>
                  <a:lnTo>
                    <a:pt x="5523" y="22091"/>
                  </a:lnTo>
                  <a:lnTo>
                    <a:pt x="3375" y="22909"/>
                  </a:lnTo>
                  <a:lnTo>
                    <a:pt x="3375" y="23114"/>
                  </a:lnTo>
                  <a:lnTo>
                    <a:pt x="3170" y="23011"/>
                  </a:lnTo>
                  <a:lnTo>
                    <a:pt x="2966" y="23114"/>
                  </a:lnTo>
                  <a:lnTo>
                    <a:pt x="2966" y="23114"/>
                  </a:lnTo>
                  <a:lnTo>
                    <a:pt x="3170" y="22909"/>
                  </a:lnTo>
                  <a:lnTo>
                    <a:pt x="2864" y="23011"/>
                  </a:lnTo>
                  <a:lnTo>
                    <a:pt x="2864" y="23011"/>
                  </a:lnTo>
                  <a:lnTo>
                    <a:pt x="2966" y="22909"/>
                  </a:lnTo>
                  <a:lnTo>
                    <a:pt x="1120" y="23634"/>
                  </a:lnTo>
                  <a:lnTo>
                    <a:pt x="1120" y="23634"/>
                  </a:lnTo>
                  <a:lnTo>
                    <a:pt x="1023" y="23830"/>
                  </a:lnTo>
                  <a:lnTo>
                    <a:pt x="2276" y="23472"/>
                  </a:lnTo>
                  <a:lnTo>
                    <a:pt x="2276" y="23472"/>
                  </a:lnTo>
                  <a:lnTo>
                    <a:pt x="3886" y="23114"/>
                  </a:lnTo>
                  <a:lnTo>
                    <a:pt x="3682" y="23318"/>
                  </a:lnTo>
                  <a:lnTo>
                    <a:pt x="5069" y="22823"/>
                  </a:lnTo>
                  <a:lnTo>
                    <a:pt x="5069" y="22823"/>
                  </a:lnTo>
                  <a:lnTo>
                    <a:pt x="5216" y="22602"/>
                  </a:lnTo>
                  <a:lnTo>
                    <a:pt x="5932" y="22398"/>
                  </a:lnTo>
                  <a:lnTo>
                    <a:pt x="5830" y="22398"/>
                  </a:lnTo>
                  <a:lnTo>
                    <a:pt x="10534" y="20761"/>
                  </a:lnTo>
                  <a:lnTo>
                    <a:pt x="10432" y="20761"/>
                  </a:lnTo>
                  <a:lnTo>
                    <a:pt x="11352" y="20352"/>
                  </a:lnTo>
                  <a:lnTo>
                    <a:pt x="11455" y="19943"/>
                  </a:lnTo>
                  <a:lnTo>
                    <a:pt x="12580" y="19330"/>
                  </a:lnTo>
                  <a:lnTo>
                    <a:pt x="12580" y="19432"/>
                  </a:lnTo>
                  <a:lnTo>
                    <a:pt x="12886" y="19330"/>
                  </a:lnTo>
                  <a:lnTo>
                    <a:pt x="12886" y="19227"/>
                  </a:lnTo>
                  <a:lnTo>
                    <a:pt x="17386" y="17693"/>
                  </a:lnTo>
                  <a:lnTo>
                    <a:pt x="16568" y="18102"/>
                  </a:lnTo>
                  <a:lnTo>
                    <a:pt x="16875" y="18205"/>
                  </a:lnTo>
                  <a:lnTo>
                    <a:pt x="16875" y="18307"/>
                  </a:lnTo>
                  <a:lnTo>
                    <a:pt x="14011" y="19125"/>
                  </a:lnTo>
                  <a:lnTo>
                    <a:pt x="14318" y="19330"/>
                  </a:lnTo>
                  <a:lnTo>
                    <a:pt x="13193" y="19841"/>
                  </a:lnTo>
                  <a:lnTo>
                    <a:pt x="15443" y="19227"/>
                  </a:lnTo>
                  <a:lnTo>
                    <a:pt x="15443" y="19227"/>
                  </a:lnTo>
                  <a:lnTo>
                    <a:pt x="15341" y="19330"/>
                  </a:lnTo>
                  <a:lnTo>
                    <a:pt x="15852" y="19023"/>
                  </a:lnTo>
                  <a:lnTo>
                    <a:pt x="15852" y="19125"/>
                  </a:lnTo>
                  <a:lnTo>
                    <a:pt x="17284" y="18614"/>
                  </a:lnTo>
                  <a:lnTo>
                    <a:pt x="16875" y="18614"/>
                  </a:lnTo>
                  <a:lnTo>
                    <a:pt x="17284" y="18409"/>
                  </a:lnTo>
                  <a:lnTo>
                    <a:pt x="17182" y="18409"/>
                  </a:lnTo>
                  <a:lnTo>
                    <a:pt x="17554" y="18186"/>
                  </a:lnTo>
                  <a:lnTo>
                    <a:pt x="17554" y="18186"/>
                  </a:lnTo>
                  <a:lnTo>
                    <a:pt x="18205" y="18000"/>
                  </a:lnTo>
                  <a:lnTo>
                    <a:pt x="18205" y="18000"/>
                  </a:lnTo>
                  <a:lnTo>
                    <a:pt x="17795" y="18307"/>
                  </a:lnTo>
                  <a:lnTo>
                    <a:pt x="19125" y="18102"/>
                  </a:lnTo>
                  <a:lnTo>
                    <a:pt x="18614" y="18409"/>
                  </a:lnTo>
                  <a:lnTo>
                    <a:pt x="18818" y="18409"/>
                  </a:lnTo>
                  <a:lnTo>
                    <a:pt x="18818" y="18511"/>
                  </a:lnTo>
                  <a:lnTo>
                    <a:pt x="19125" y="18511"/>
                  </a:lnTo>
                  <a:lnTo>
                    <a:pt x="18818" y="18716"/>
                  </a:lnTo>
                  <a:lnTo>
                    <a:pt x="19227" y="18716"/>
                  </a:lnTo>
                  <a:lnTo>
                    <a:pt x="19841" y="18511"/>
                  </a:lnTo>
                  <a:lnTo>
                    <a:pt x="19432" y="18920"/>
                  </a:lnTo>
                  <a:lnTo>
                    <a:pt x="19636" y="19125"/>
                  </a:lnTo>
                  <a:lnTo>
                    <a:pt x="21682" y="19023"/>
                  </a:lnTo>
                  <a:lnTo>
                    <a:pt x="21682" y="19023"/>
                  </a:lnTo>
                  <a:lnTo>
                    <a:pt x="21477" y="19227"/>
                  </a:lnTo>
                  <a:lnTo>
                    <a:pt x="23216" y="19227"/>
                  </a:lnTo>
                  <a:lnTo>
                    <a:pt x="22295" y="19534"/>
                  </a:lnTo>
                  <a:lnTo>
                    <a:pt x="22909" y="19943"/>
                  </a:lnTo>
                  <a:lnTo>
                    <a:pt x="22807" y="19943"/>
                  </a:lnTo>
                  <a:lnTo>
                    <a:pt x="23216" y="20659"/>
                  </a:lnTo>
                  <a:lnTo>
                    <a:pt x="23830" y="20659"/>
                  </a:lnTo>
                  <a:lnTo>
                    <a:pt x="23830" y="20455"/>
                  </a:lnTo>
                  <a:lnTo>
                    <a:pt x="24034" y="20352"/>
                  </a:lnTo>
                  <a:lnTo>
                    <a:pt x="23625" y="20148"/>
                  </a:lnTo>
                  <a:lnTo>
                    <a:pt x="24545" y="20045"/>
                  </a:lnTo>
                  <a:lnTo>
                    <a:pt x="24443" y="20148"/>
                  </a:lnTo>
                  <a:lnTo>
                    <a:pt x="24648" y="20148"/>
                  </a:lnTo>
                  <a:lnTo>
                    <a:pt x="24136" y="20659"/>
                  </a:lnTo>
                  <a:lnTo>
                    <a:pt x="24545" y="20761"/>
                  </a:lnTo>
                  <a:lnTo>
                    <a:pt x="25466" y="19636"/>
                  </a:lnTo>
                  <a:lnTo>
                    <a:pt x="24955" y="20557"/>
                  </a:lnTo>
                  <a:lnTo>
                    <a:pt x="25159" y="20761"/>
                  </a:lnTo>
                  <a:lnTo>
                    <a:pt x="25670" y="20557"/>
                  </a:lnTo>
                  <a:lnTo>
                    <a:pt x="25159" y="20966"/>
                  </a:lnTo>
                  <a:lnTo>
                    <a:pt x="25568" y="21170"/>
                  </a:lnTo>
                  <a:lnTo>
                    <a:pt x="24750" y="21784"/>
                  </a:lnTo>
                  <a:lnTo>
                    <a:pt x="25159" y="21886"/>
                  </a:lnTo>
                  <a:lnTo>
                    <a:pt x="25159" y="22193"/>
                  </a:lnTo>
                  <a:lnTo>
                    <a:pt x="25057" y="22295"/>
                  </a:lnTo>
                  <a:lnTo>
                    <a:pt x="25364" y="22705"/>
                  </a:lnTo>
                  <a:lnTo>
                    <a:pt x="24648" y="23114"/>
                  </a:lnTo>
                  <a:lnTo>
                    <a:pt x="24545" y="23420"/>
                  </a:lnTo>
                  <a:lnTo>
                    <a:pt x="25670" y="22807"/>
                  </a:lnTo>
                  <a:lnTo>
                    <a:pt x="24750" y="24136"/>
                  </a:lnTo>
                  <a:lnTo>
                    <a:pt x="26284" y="23011"/>
                  </a:lnTo>
                  <a:lnTo>
                    <a:pt x="26284" y="23011"/>
                  </a:lnTo>
                  <a:lnTo>
                    <a:pt x="25568" y="23830"/>
                  </a:lnTo>
                  <a:lnTo>
                    <a:pt x="25568" y="23830"/>
                  </a:lnTo>
                  <a:lnTo>
                    <a:pt x="26182" y="23318"/>
                  </a:lnTo>
                  <a:lnTo>
                    <a:pt x="26182" y="23495"/>
                  </a:lnTo>
                  <a:lnTo>
                    <a:pt x="26182" y="23495"/>
                  </a:lnTo>
                  <a:lnTo>
                    <a:pt x="24750" y="24545"/>
                  </a:lnTo>
                  <a:lnTo>
                    <a:pt x="25159" y="24648"/>
                  </a:lnTo>
                  <a:lnTo>
                    <a:pt x="24443" y="25364"/>
                  </a:lnTo>
                  <a:lnTo>
                    <a:pt x="24443" y="25568"/>
                  </a:lnTo>
                  <a:lnTo>
                    <a:pt x="25261" y="25261"/>
                  </a:lnTo>
                  <a:lnTo>
                    <a:pt x="25364" y="25159"/>
                  </a:lnTo>
                  <a:lnTo>
                    <a:pt x="25773" y="25057"/>
                  </a:lnTo>
                  <a:lnTo>
                    <a:pt x="25364" y="25261"/>
                  </a:lnTo>
                  <a:lnTo>
                    <a:pt x="25773" y="25568"/>
                  </a:lnTo>
                  <a:lnTo>
                    <a:pt x="25261" y="25261"/>
                  </a:lnTo>
                  <a:lnTo>
                    <a:pt x="24955" y="25466"/>
                  </a:lnTo>
                  <a:lnTo>
                    <a:pt x="25364" y="25977"/>
                  </a:lnTo>
                  <a:lnTo>
                    <a:pt x="24750" y="26489"/>
                  </a:lnTo>
                  <a:lnTo>
                    <a:pt x="24750" y="26489"/>
                  </a:lnTo>
                  <a:lnTo>
                    <a:pt x="25159" y="26284"/>
                  </a:lnTo>
                  <a:lnTo>
                    <a:pt x="24545" y="26693"/>
                  </a:lnTo>
                  <a:lnTo>
                    <a:pt x="24443" y="27000"/>
                  </a:lnTo>
                  <a:lnTo>
                    <a:pt x="26080" y="25977"/>
                  </a:lnTo>
                  <a:lnTo>
                    <a:pt x="25670" y="26386"/>
                  </a:lnTo>
                  <a:lnTo>
                    <a:pt x="25773" y="26795"/>
                  </a:lnTo>
                  <a:lnTo>
                    <a:pt x="25568" y="26489"/>
                  </a:lnTo>
                  <a:lnTo>
                    <a:pt x="24852" y="26795"/>
                  </a:lnTo>
                  <a:lnTo>
                    <a:pt x="24955" y="26795"/>
                  </a:lnTo>
                  <a:lnTo>
                    <a:pt x="24545" y="27307"/>
                  </a:lnTo>
                  <a:lnTo>
                    <a:pt x="25466" y="27102"/>
                  </a:lnTo>
                  <a:lnTo>
                    <a:pt x="24341" y="27614"/>
                  </a:lnTo>
                  <a:lnTo>
                    <a:pt x="25159" y="27818"/>
                  </a:lnTo>
                  <a:lnTo>
                    <a:pt x="25057" y="27920"/>
                  </a:lnTo>
                  <a:lnTo>
                    <a:pt x="25159" y="28023"/>
                  </a:lnTo>
                  <a:lnTo>
                    <a:pt x="24852" y="28125"/>
                  </a:lnTo>
                  <a:lnTo>
                    <a:pt x="25364" y="28125"/>
                  </a:lnTo>
                  <a:lnTo>
                    <a:pt x="24852" y="28227"/>
                  </a:lnTo>
                  <a:lnTo>
                    <a:pt x="25977" y="28227"/>
                  </a:lnTo>
                  <a:lnTo>
                    <a:pt x="26284" y="27920"/>
                  </a:lnTo>
                  <a:lnTo>
                    <a:pt x="25773" y="28841"/>
                  </a:lnTo>
                  <a:lnTo>
                    <a:pt x="26591" y="28636"/>
                  </a:lnTo>
                  <a:lnTo>
                    <a:pt x="26489" y="29148"/>
                  </a:lnTo>
                  <a:lnTo>
                    <a:pt x="26182" y="29352"/>
                  </a:lnTo>
                  <a:lnTo>
                    <a:pt x="26182" y="29352"/>
                  </a:lnTo>
                  <a:lnTo>
                    <a:pt x="26795" y="29148"/>
                  </a:lnTo>
                  <a:lnTo>
                    <a:pt x="26489" y="29455"/>
                  </a:lnTo>
                  <a:lnTo>
                    <a:pt x="26898" y="29455"/>
                  </a:lnTo>
                  <a:lnTo>
                    <a:pt x="26489" y="29659"/>
                  </a:lnTo>
                  <a:lnTo>
                    <a:pt x="26489" y="29864"/>
                  </a:lnTo>
                  <a:lnTo>
                    <a:pt x="26591" y="30068"/>
                  </a:lnTo>
                  <a:lnTo>
                    <a:pt x="26693" y="30068"/>
                  </a:lnTo>
                  <a:lnTo>
                    <a:pt x="26386" y="30375"/>
                  </a:lnTo>
                  <a:lnTo>
                    <a:pt x="26386" y="30682"/>
                  </a:lnTo>
                  <a:lnTo>
                    <a:pt x="26489" y="30682"/>
                  </a:lnTo>
                  <a:lnTo>
                    <a:pt x="26386" y="30784"/>
                  </a:lnTo>
                  <a:lnTo>
                    <a:pt x="26386" y="30682"/>
                  </a:lnTo>
                  <a:lnTo>
                    <a:pt x="26080" y="31295"/>
                  </a:lnTo>
                  <a:lnTo>
                    <a:pt x="25670" y="31500"/>
                  </a:lnTo>
                  <a:lnTo>
                    <a:pt x="25568" y="31602"/>
                  </a:lnTo>
                  <a:lnTo>
                    <a:pt x="25568" y="31500"/>
                  </a:lnTo>
                  <a:lnTo>
                    <a:pt x="25670" y="31500"/>
                  </a:lnTo>
                  <a:lnTo>
                    <a:pt x="26182" y="30886"/>
                  </a:lnTo>
                  <a:lnTo>
                    <a:pt x="26182" y="30886"/>
                  </a:lnTo>
                  <a:lnTo>
                    <a:pt x="25466" y="31398"/>
                  </a:lnTo>
                  <a:lnTo>
                    <a:pt x="25875" y="30989"/>
                  </a:lnTo>
                  <a:lnTo>
                    <a:pt x="25875" y="31091"/>
                  </a:lnTo>
                  <a:lnTo>
                    <a:pt x="26182" y="30682"/>
                  </a:lnTo>
                  <a:lnTo>
                    <a:pt x="24852" y="30477"/>
                  </a:lnTo>
                  <a:lnTo>
                    <a:pt x="24341" y="31909"/>
                  </a:lnTo>
                  <a:lnTo>
                    <a:pt x="24545" y="31909"/>
                  </a:lnTo>
                  <a:lnTo>
                    <a:pt x="24136" y="32420"/>
                  </a:lnTo>
                  <a:lnTo>
                    <a:pt x="24136" y="32216"/>
                  </a:lnTo>
                  <a:lnTo>
                    <a:pt x="23932" y="32523"/>
                  </a:lnTo>
                  <a:lnTo>
                    <a:pt x="24545" y="32727"/>
                  </a:lnTo>
                  <a:lnTo>
                    <a:pt x="24034" y="32625"/>
                  </a:lnTo>
                  <a:lnTo>
                    <a:pt x="21989" y="35489"/>
                  </a:lnTo>
                  <a:lnTo>
                    <a:pt x="22091" y="35489"/>
                  </a:lnTo>
                  <a:lnTo>
                    <a:pt x="20557" y="38250"/>
                  </a:lnTo>
                  <a:lnTo>
                    <a:pt x="20557" y="38148"/>
                  </a:lnTo>
                  <a:lnTo>
                    <a:pt x="20250" y="38659"/>
                  </a:lnTo>
                  <a:lnTo>
                    <a:pt x="20348" y="40709"/>
                  </a:lnTo>
                  <a:lnTo>
                    <a:pt x="20348" y="40709"/>
                  </a:lnTo>
                  <a:lnTo>
                    <a:pt x="20148" y="40909"/>
                  </a:lnTo>
                  <a:lnTo>
                    <a:pt x="20455" y="41011"/>
                  </a:lnTo>
                  <a:lnTo>
                    <a:pt x="20761" y="40807"/>
                  </a:lnTo>
                  <a:lnTo>
                    <a:pt x="21477" y="40807"/>
                  </a:lnTo>
                  <a:lnTo>
                    <a:pt x="20761" y="40909"/>
                  </a:lnTo>
                  <a:lnTo>
                    <a:pt x="20761" y="41420"/>
                  </a:lnTo>
                  <a:lnTo>
                    <a:pt x="20557" y="41114"/>
                  </a:lnTo>
                  <a:lnTo>
                    <a:pt x="20352" y="41727"/>
                  </a:lnTo>
                  <a:lnTo>
                    <a:pt x="20557" y="42341"/>
                  </a:lnTo>
                  <a:lnTo>
                    <a:pt x="20352" y="42648"/>
                  </a:lnTo>
                  <a:lnTo>
                    <a:pt x="20864" y="43875"/>
                  </a:lnTo>
                  <a:lnTo>
                    <a:pt x="20761" y="44284"/>
                  </a:lnTo>
                  <a:lnTo>
                    <a:pt x="21068" y="44591"/>
                  </a:lnTo>
                  <a:lnTo>
                    <a:pt x="21477" y="44693"/>
                  </a:lnTo>
                  <a:lnTo>
                    <a:pt x="23011" y="47250"/>
                  </a:lnTo>
                  <a:lnTo>
                    <a:pt x="22909" y="47455"/>
                  </a:lnTo>
                  <a:lnTo>
                    <a:pt x="23216" y="49295"/>
                  </a:lnTo>
                  <a:lnTo>
                    <a:pt x="23932" y="50114"/>
                  </a:lnTo>
                  <a:lnTo>
                    <a:pt x="23932" y="51341"/>
                  </a:lnTo>
                  <a:lnTo>
                    <a:pt x="24034" y="51341"/>
                  </a:lnTo>
                  <a:lnTo>
                    <a:pt x="24034" y="51545"/>
                  </a:lnTo>
                  <a:lnTo>
                    <a:pt x="23830" y="51341"/>
                  </a:lnTo>
                  <a:lnTo>
                    <a:pt x="23216" y="51443"/>
                  </a:lnTo>
                  <a:lnTo>
                    <a:pt x="23830" y="52159"/>
                  </a:lnTo>
                  <a:lnTo>
                    <a:pt x="24648" y="52364"/>
                  </a:lnTo>
                  <a:lnTo>
                    <a:pt x="25261" y="54818"/>
                  </a:lnTo>
                  <a:lnTo>
                    <a:pt x="26795" y="56455"/>
                  </a:lnTo>
                  <a:lnTo>
                    <a:pt x="26898" y="55432"/>
                  </a:lnTo>
                  <a:lnTo>
                    <a:pt x="26386" y="55227"/>
                  </a:lnTo>
                  <a:lnTo>
                    <a:pt x="25773" y="52364"/>
                  </a:lnTo>
                  <a:lnTo>
                    <a:pt x="25773" y="52670"/>
                  </a:lnTo>
                  <a:lnTo>
                    <a:pt x="25261" y="50830"/>
                  </a:lnTo>
                  <a:lnTo>
                    <a:pt x="25057" y="50727"/>
                  </a:lnTo>
                  <a:lnTo>
                    <a:pt x="24341" y="48068"/>
                  </a:lnTo>
                  <a:lnTo>
                    <a:pt x="24545" y="47250"/>
                  </a:lnTo>
                  <a:lnTo>
                    <a:pt x="25159" y="47659"/>
                  </a:lnTo>
                  <a:lnTo>
                    <a:pt x="25364" y="47557"/>
                  </a:lnTo>
                  <a:lnTo>
                    <a:pt x="25466" y="47761"/>
                  </a:lnTo>
                  <a:lnTo>
                    <a:pt x="25875" y="47966"/>
                  </a:lnTo>
                  <a:lnTo>
                    <a:pt x="26591" y="51034"/>
                  </a:lnTo>
                  <a:lnTo>
                    <a:pt x="27205" y="51341"/>
                  </a:lnTo>
                  <a:lnTo>
                    <a:pt x="27000" y="51852"/>
                  </a:lnTo>
                  <a:lnTo>
                    <a:pt x="28023" y="53080"/>
                  </a:lnTo>
                  <a:lnTo>
                    <a:pt x="27920" y="52977"/>
                  </a:lnTo>
                  <a:lnTo>
                    <a:pt x="28125" y="53591"/>
                  </a:lnTo>
                  <a:lnTo>
                    <a:pt x="27920" y="53795"/>
                  </a:lnTo>
                  <a:lnTo>
                    <a:pt x="28636" y="54307"/>
                  </a:lnTo>
                  <a:lnTo>
                    <a:pt x="28432" y="54205"/>
                  </a:lnTo>
                  <a:lnTo>
                    <a:pt x="29045" y="54920"/>
                  </a:lnTo>
                  <a:lnTo>
                    <a:pt x="28841" y="54920"/>
                  </a:lnTo>
                  <a:lnTo>
                    <a:pt x="29761" y="56148"/>
                  </a:lnTo>
                  <a:lnTo>
                    <a:pt x="30477" y="58091"/>
                  </a:lnTo>
                  <a:lnTo>
                    <a:pt x="29966" y="59216"/>
                  </a:lnTo>
                  <a:lnTo>
                    <a:pt x="37534" y="63920"/>
                  </a:lnTo>
                  <a:lnTo>
                    <a:pt x="39068" y="63307"/>
                  </a:lnTo>
                  <a:lnTo>
                    <a:pt x="39170" y="63307"/>
                  </a:lnTo>
                  <a:lnTo>
                    <a:pt x="39784" y="63614"/>
                  </a:lnTo>
                  <a:lnTo>
                    <a:pt x="39784" y="63614"/>
                  </a:lnTo>
                  <a:lnTo>
                    <a:pt x="39375" y="63307"/>
                  </a:lnTo>
                  <a:lnTo>
                    <a:pt x="39375" y="63307"/>
                  </a:lnTo>
                  <a:lnTo>
                    <a:pt x="44284" y="66375"/>
                  </a:lnTo>
                  <a:lnTo>
                    <a:pt x="45000" y="66273"/>
                  </a:lnTo>
                  <a:lnTo>
                    <a:pt x="45409" y="66682"/>
                  </a:lnTo>
                  <a:lnTo>
                    <a:pt x="45307" y="66989"/>
                  </a:lnTo>
                  <a:lnTo>
                    <a:pt x="46534" y="68830"/>
                  </a:lnTo>
                  <a:lnTo>
                    <a:pt x="46534" y="69443"/>
                  </a:lnTo>
                  <a:lnTo>
                    <a:pt x="47148" y="70159"/>
                  </a:lnTo>
                  <a:lnTo>
                    <a:pt x="47352" y="69852"/>
                  </a:lnTo>
                  <a:lnTo>
                    <a:pt x="47045" y="69443"/>
                  </a:lnTo>
                  <a:lnTo>
                    <a:pt x="47045" y="69443"/>
                  </a:lnTo>
                  <a:lnTo>
                    <a:pt x="48784" y="71386"/>
                  </a:lnTo>
                  <a:lnTo>
                    <a:pt x="48784" y="71386"/>
                  </a:lnTo>
                  <a:lnTo>
                    <a:pt x="48580" y="71080"/>
                  </a:lnTo>
                  <a:lnTo>
                    <a:pt x="49091" y="71693"/>
                  </a:lnTo>
                  <a:lnTo>
                    <a:pt x="49705" y="71489"/>
                  </a:lnTo>
                  <a:lnTo>
                    <a:pt x="50625" y="72205"/>
                  </a:lnTo>
                  <a:lnTo>
                    <a:pt x="50727" y="71898"/>
                  </a:lnTo>
                  <a:lnTo>
                    <a:pt x="51136" y="72614"/>
                  </a:lnTo>
                  <a:lnTo>
                    <a:pt x="51648" y="72307"/>
                  </a:lnTo>
                  <a:lnTo>
                    <a:pt x="51341" y="71693"/>
                  </a:lnTo>
                  <a:lnTo>
                    <a:pt x="52670" y="70773"/>
                  </a:lnTo>
                  <a:lnTo>
                    <a:pt x="53182" y="71489"/>
                  </a:lnTo>
                  <a:lnTo>
                    <a:pt x="53182" y="71284"/>
                  </a:lnTo>
                  <a:lnTo>
                    <a:pt x="53386" y="71386"/>
                  </a:lnTo>
                  <a:lnTo>
                    <a:pt x="53489" y="71284"/>
                  </a:lnTo>
                  <a:lnTo>
                    <a:pt x="53693" y="71693"/>
                  </a:lnTo>
                  <a:lnTo>
                    <a:pt x="53386" y="71386"/>
                  </a:lnTo>
                  <a:lnTo>
                    <a:pt x="53182" y="71795"/>
                  </a:lnTo>
                  <a:lnTo>
                    <a:pt x="53795" y="75682"/>
                  </a:lnTo>
                  <a:lnTo>
                    <a:pt x="53898" y="75682"/>
                  </a:lnTo>
                  <a:lnTo>
                    <a:pt x="53898" y="75989"/>
                  </a:lnTo>
                  <a:lnTo>
                    <a:pt x="54000" y="75886"/>
                  </a:lnTo>
                  <a:lnTo>
                    <a:pt x="54205" y="75989"/>
                  </a:lnTo>
                  <a:lnTo>
                    <a:pt x="53489" y="77216"/>
                  </a:lnTo>
                  <a:lnTo>
                    <a:pt x="52977" y="77523"/>
                  </a:lnTo>
                  <a:lnTo>
                    <a:pt x="52773" y="78239"/>
                  </a:lnTo>
                  <a:lnTo>
                    <a:pt x="52364" y="78341"/>
                  </a:lnTo>
                  <a:lnTo>
                    <a:pt x="52568" y="78750"/>
                  </a:lnTo>
                  <a:lnTo>
                    <a:pt x="51648" y="79159"/>
                  </a:lnTo>
                  <a:lnTo>
                    <a:pt x="51239" y="80693"/>
                  </a:lnTo>
                  <a:lnTo>
                    <a:pt x="51034" y="80591"/>
                  </a:lnTo>
                  <a:lnTo>
                    <a:pt x="50727" y="81307"/>
                  </a:lnTo>
                  <a:lnTo>
                    <a:pt x="50727" y="82227"/>
                  </a:lnTo>
                  <a:lnTo>
                    <a:pt x="51034" y="82739"/>
                  </a:lnTo>
                  <a:lnTo>
                    <a:pt x="51545" y="82432"/>
                  </a:lnTo>
                  <a:lnTo>
                    <a:pt x="51648" y="82125"/>
                  </a:lnTo>
                  <a:lnTo>
                    <a:pt x="51750" y="82841"/>
                  </a:lnTo>
                  <a:lnTo>
                    <a:pt x="50318" y="84886"/>
                  </a:lnTo>
                  <a:lnTo>
                    <a:pt x="50830" y="85909"/>
                  </a:lnTo>
                  <a:lnTo>
                    <a:pt x="50625" y="86011"/>
                  </a:lnTo>
                  <a:lnTo>
                    <a:pt x="60852" y="98693"/>
                  </a:lnTo>
                  <a:lnTo>
                    <a:pt x="61977" y="118125"/>
                  </a:lnTo>
                  <a:lnTo>
                    <a:pt x="61670" y="118330"/>
                  </a:lnTo>
                  <a:lnTo>
                    <a:pt x="63102" y="122932"/>
                  </a:lnTo>
                  <a:lnTo>
                    <a:pt x="64125" y="122625"/>
                  </a:lnTo>
                  <a:lnTo>
                    <a:pt x="63818" y="123136"/>
                  </a:lnTo>
                  <a:lnTo>
                    <a:pt x="64125" y="123136"/>
                  </a:lnTo>
                  <a:lnTo>
                    <a:pt x="64330" y="123648"/>
                  </a:lnTo>
                  <a:lnTo>
                    <a:pt x="64023" y="123648"/>
                  </a:lnTo>
                  <a:lnTo>
                    <a:pt x="64227" y="125284"/>
                  </a:lnTo>
                  <a:lnTo>
                    <a:pt x="64636" y="125489"/>
                  </a:lnTo>
                  <a:lnTo>
                    <a:pt x="64534" y="126511"/>
                  </a:lnTo>
                  <a:lnTo>
                    <a:pt x="64943" y="126716"/>
                  </a:lnTo>
                  <a:lnTo>
                    <a:pt x="64330" y="126716"/>
                  </a:lnTo>
                  <a:lnTo>
                    <a:pt x="64636" y="127432"/>
                  </a:lnTo>
                  <a:lnTo>
                    <a:pt x="64534" y="127739"/>
                  </a:lnTo>
                  <a:lnTo>
                    <a:pt x="64330" y="127023"/>
                  </a:lnTo>
                  <a:lnTo>
                    <a:pt x="64023" y="127432"/>
                  </a:lnTo>
                  <a:lnTo>
                    <a:pt x="64023" y="127432"/>
                  </a:lnTo>
                  <a:lnTo>
                    <a:pt x="64227" y="127023"/>
                  </a:lnTo>
                  <a:lnTo>
                    <a:pt x="64023" y="126614"/>
                  </a:lnTo>
                  <a:lnTo>
                    <a:pt x="64023" y="127023"/>
                  </a:lnTo>
                  <a:lnTo>
                    <a:pt x="63409" y="127125"/>
                  </a:lnTo>
                  <a:lnTo>
                    <a:pt x="63614" y="127432"/>
                  </a:lnTo>
                  <a:lnTo>
                    <a:pt x="63205" y="127943"/>
                  </a:lnTo>
                  <a:lnTo>
                    <a:pt x="63205" y="127943"/>
                  </a:lnTo>
                  <a:lnTo>
                    <a:pt x="63716" y="127739"/>
                  </a:lnTo>
                  <a:lnTo>
                    <a:pt x="64227" y="128148"/>
                  </a:lnTo>
                  <a:lnTo>
                    <a:pt x="64227" y="128045"/>
                  </a:lnTo>
                  <a:lnTo>
                    <a:pt x="64534" y="128250"/>
                  </a:lnTo>
                  <a:lnTo>
                    <a:pt x="64534" y="128455"/>
                  </a:lnTo>
                  <a:lnTo>
                    <a:pt x="64432" y="128659"/>
                  </a:lnTo>
                  <a:lnTo>
                    <a:pt x="64636" y="129068"/>
                  </a:lnTo>
                  <a:lnTo>
                    <a:pt x="65148" y="128864"/>
                  </a:lnTo>
                  <a:lnTo>
                    <a:pt x="65557" y="129477"/>
                  </a:lnTo>
                  <a:lnTo>
                    <a:pt x="64534" y="129273"/>
                  </a:lnTo>
                  <a:lnTo>
                    <a:pt x="65148" y="129682"/>
                  </a:lnTo>
                  <a:lnTo>
                    <a:pt x="65455" y="130705"/>
                  </a:lnTo>
                  <a:lnTo>
                    <a:pt x="65352" y="130295"/>
                  </a:lnTo>
                  <a:lnTo>
                    <a:pt x="65455" y="130295"/>
                  </a:lnTo>
                  <a:lnTo>
                    <a:pt x="65864" y="131216"/>
                  </a:lnTo>
                  <a:lnTo>
                    <a:pt x="65352" y="131420"/>
                  </a:lnTo>
                  <a:lnTo>
                    <a:pt x="66068" y="131727"/>
                  </a:lnTo>
                  <a:lnTo>
                    <a:pt x="65864" y="131727"/>
                  </a:lnTo>
                  <a:lnTo>
                    <a:pt x="66170" y="132034"/>
                  </a:lnTo>
                  <a:lnTo>
                    <a:pt x="66273" y="131727"/>
                  </a:lnTo>
                  <a:lnTo>
                    <a:pt x="66375" y="131932"/>
                  </a:lnTo>
                  <a:lnTo>
                    <a:pt x="66375" y="132239"/>
                  </a:lnTo>
                  <a:lnTo>
                    <a:pt x="66170" y="132034"/>
                  </a:lnTo>
                  <a:lnTo>
                    <a:pt x="65557" y="131625"/>
                  </a:lnTo>
                  <a:lnTo>
                    <a:pt x="65250" y="131932"/>
                  </a:lnTo>
                  <a:lnTo>
                    <a:pt x="67193" y="133261"/>
                  </a:lnTo>
                  <a:lnTo>
                    <a:pt x="67398" y="133159"/>
                  </a:lnTo>
                  <a:lnTo>
                    <a:pt x="67091" y="132750"/>
                  </a:lnTo>
                  <a:lnTo>
                    <a:pt x="67705" y="133057"/>
                  </a:lnTo>
                  <a:lnTo>
                    <a:pt x="67398" y="133159"/>
                  </a:lnTo>
                  <a:lnTo>
                    <a:pt x="67500" y="133261"/>
                  </a:lnTo>
                  <a:lnTo>
                    <a:pt x="67602" y="133159"/>
                  </a:lnTo>
                  <a:lnTo>
                    <a:pt x="67807" y="133568"/>
                  </a:lnTo>
                  <a:lnTo>
                    <a:pt x="67807" y="133568"/>
                  </a:lnTo>
                  <a:lnTo>
                    <a:pt x="67500" y="133261"/>
                  </a:lnTo>
                  <a:lnTo>
                    <a:pt x="67295" y="133364"/>
                  </a:lnTo>
                  <a:lnTo>
                    <a:pt x="66477" y="133364"/>
                  </a:lnTo>
                  <a:lnTo>
                    <a:pt x="66886" y="133773"/>
                  </a:lnTo>
                  <a:lnTo>
                    <a:pt x="67500" y="133670"/>
                  </a:lnTo>
                  <a:lnTo>
                    <a:pt x="67295" y="134080"/>
                  </a:lnTo>
                  <a:lnTo>
                    <a:pt x="67705" y="134284"/>
                  </a:lnTo>
                  <a:lnTo>
                    <a:pt x="67807" y="134080"/>
                  </a:lnTo>
                  <a:lnTo>
                    <a:pt x="67926" y="134000"/>
                  </a:lnTo>
                  <a:lnTo>
                    <a:pt x="67926" y="134000"/>
                  </a:lnTo>
                  <a:lnTo>
                    <a:pt x="68420" y="134693"/>
                  </a:lnTo>
                  <a:lnTo>
                    <a:pt x="69136" y="133977"/>
                  </a:lnTo>
                  <a:lnTo>
                    <a:pt x="69136" y="134284"/>
                  </a:lnTo>
                  <a:lnTo>
                    <a:pt x="68932" y="134489"/>
                  </a:lnTo>
                  <a:lnTo>
                    <a:pt x="68932" y="134693"/>
                  </a:lnTo>
                  <a:lnTo>
                    <a:pt x="68727" y="134795"/>
                  </a:lnTo>
                  <a:lnTo>
                    <a:pt x="69750" y="134795"/>
                  </a:lnTo>
                  <a:lnTo>
                    <a:pt x="69545" y="134182"/>
                  </a:lnTo>
                  <a:lnTo>
                    <a:pt x="69767" y="133988"/>
                  </a:lnTo>
                  <a:lnTo>
                    <a:pt x="69767" y="133988"/>
                  </a:lnTo>
                  <a:lnTo>
                    <a:pt x="70057" y="134182"/>
                  </a:lnTo>
                  <a:lnTo>
                    <a:pt x="69852" y="134284"/>
                  </a:lnTo>
                  <a:lnTo>
                    <a:pt x="70568" y="134591"/>
                  </a:lnTo>
                  <a:lnTo>
                    <a:pt x="70364" y="135000"/>
                  </a:lnTo>
                  <a:lnTo>
                    <a:pt x="71489" y="135614"/>
                  </a:lnTo>
                  <a:lnTo>
                    <a:pt x="71386" y="135716"/>
                  </a:lnTo>
                  <a:lnTo>
                    <a:pt x="70159" y="135205"/>
                  </a:lnTo>
                  <a:lnTo>
                    <a:pt x="70364" y="135205"/>
                  </a:lnTo>
                  <a:lnTo>
                    <a:pt x="70057" y="135000"/>
                  </a:lnTo>
                  <a:lnTo>
                    <a:pt x="69955" y="135102"/>
                  </a:lnTo>
                  <a:lnTo>
                    <a:pt x="70568" y="135716"/>
                  </a:lnTo>
                  <a:lnTo>
                    <a:pt x="70057" y="135511"/>
                  </a:lnTo>
                  <a:lnTo>
                    <a:pt x="69443" y="135716"/>
                  </a:lnTo>
                  <a:lnTo>
                    <a:pt x="69545" y="135818"/>
                  </a:lnTo>
                  <a:lnTo>
                    <a:pt x="73943" y="136125"/>
                  </a:lnTo>
                  <a:lnTo>
                    <a:pt x="74557" y="135818"/>
                  </a:lnTo>
                  <a:lnTo>
                    <a:pt x="71489" y="134489"/>
                  </a:lnTo>
                  <a:lnTo>
                    <a:pt x="71591" y="134284"/>
                  </a:lnTo>
                  <a:lnTo>
                    <a:pt x="71080" y="133875"/>
                  </a:lnTo>
                  <a:lnTo>
                    <a:pt x="69782" y="133975"/>
                  </a:lnTo>
                  <a:lnTo>
                    <a:pt x="69782" y="133975"/>
                  </a:lnTo>
                  <a:lnTo>
                    <a:pt x="70364" y="133466"/>
                  </a:lnTo>
                  <a:lnTo>
                    <a:pt x="71080" y="133568"/>
                  </a:lnTo>
                  <a:lnTo>
                    <a:pt x="71080" y="133568"/>
                  </a:lnTo>
                  <a:lnTo>
                    <a:pt x="70057" y="132852"/>
                  </a:lnTo>
                  <a:lnTo>
                    <a:pt x="70364" y="132750"/>
                  </a:lnTo>
                  <a:lnTo>
                    <a:pt x="69852" y="132341"/>
                  </a:lnTo>
                  <a:lnTo>
                    <a:pt x="70159" y="131318"/>
                  </a:lnTo>
                  <a:lnTo>
                    <a:pt x="69750" y="131216"/>
                  </a:lnTo>
                  <a:lnTo>
                    <a:pt x="69955" y="131216"/>
                  </a:lnTo>
                  <a:lnTo>
                    <a:pt x="69955" y="131011"/>
                  </a:lnTo>
                  <a:lnTo>
                    <a:pt x="70670" y="131216"/>
                  </a:lnTo>
                  <a:lnTo>
                    <a:pt x="70670" y="131216"/>
                  </a:lnTo>
                  <a:lnTo>
                    <a:pt x="70466" y="130500"/>
                  </a:lnTo>
                  <a:lnTo>
                    <a:pt x="71591" y="129170"/>
                  </a:lnTo>
                  <a:lnTo>
                    <a:pt x="71182" y="129068"/>
                  </a:lnTo>
                  <a:lnTo>
                    <a:pt x="71284" y="128455"/>
                  </a:lnTo>
                  <a:lnTo>
                    <a:pt x="69443" y="127330"/>
                  </a:lnTo>
                  <a:lnTo>
                    <a:pt x="69852" y="126409"/>
                  </a:lnTo>
                  <a:lnTo>
                    <a:pt x="70159" y="126205"/>
                  </a:lnTo>
                  <a:lnTo>
                    <a:pt x="70670" y="126205"/>
                  </a:lnTo>
                  <a:lnTo>
                    <a:pt x="70568" y="124670"/>
                  </a:lnTo>
                  <a:lnTo>
                    <a:pt x="71182" y="124159"/>
                  </a:lnTo>
                  <a:lnTo>
                    <a:pt x="70568" y="123852"/>
                  </a:lnTo>
                  <a:lnTo>
                    <a:pt x="70977" y="123750"/>
                  </a:lnTo>
                  <a:lnTo>
                    <a:pt x="71284" y="124057"/>
                  </a:lnTo>
                  <a:lnTo>
                    <a:pt x="71284" y="124057"/>
                  </a:lnTo>
                  <a:lnTo>
                    <a:pt x="70977" y="123443"/>
                  </a:lnTo>
                  <a:lnTo>
                    <a:pt x="70773" y="123545"/>
                  </a:lnTo>
                  <a:lnTo>
                    <a:pt x="70364" y="123239"/>
                  </a:lnTo>
                  <a:lnTo>
                    <a:pt x="69955" y="122318"/>
                  </a:lnTo>
                  <a:lnTo>
                    <a:pt x="70057" y="122011"/>
                  </a:lnTo>
                  <a:lnTo>
                    <a:pt x="71182" y="122318"/>
                  </a:lnTo>
                  <a:lnTo>
                    <a:pt x="72205" y="122011"/>
                  </a:lnTo>
                  <a:lnTo>
                    <a:pt x="72000" y="121193"/>
                  </a:lnTo>
                  <a:lnTo>
                    <a:pt x="72102" y="120886"/>
                  </a:lnTo>
                  <a:lnTo>
                    <a:pt x="71898" y="120580"/>
                  </a:lnTo>
                  <a:lnTo>
                    <a:pt x="72000" y="120580"/>
                  </a:lnTo>
                  <a:lnTo>
                    <a:pt x="71693" y="120170"/>
                  </a:lnTo>
                  <a:lnTo>
                    <a:pt x="75477" y="119250"/>
                  </a:lnTo>
                  <a:lnTo>
                    <a:pt x="75886" y="117716"/>
                  </a:lnTo>
                  <a:lnTo>
                    <a:pt x="73739" y="114545"/>
                  </a:lnTo>
                  <a:lnTo>
                    <a:pt x="73739" y="114034"/>
                  </a:lnTo>
                  <a:lnTo>
                    <a:pt x="73943" y="114034"/>
                  </a:lnTo>
                  <a:lnTo>
                    <a:pt x="73841" y="113420"/>
                  </a:lnTo>
                  <a:lnTo>
                    <a:pt x="74045" y="113932"/>
                  </a:lnTo>
                  <a:lnTo>
                    <a:pt x="73841" y="114341"/>
                  </a:lnTo>
                  <a:lnTo>
                    <a:pt x="74557" y="115466"/>
                  </a:lnTo>
                  <a:lnTo>
                    <a:pt x="77216" y="115875"/>
                  </a:lnTo>
                  <a:lnTo>
                    <a:pt x="79466" y="111580"/>
                  </a:lnTo>
                  <a:lnTo>
                    <a:pt x="79568" y="111682"/>
                  </a:lnTo>
                  <a:lnTo>
                    <a:pt x="79568" y="111273"/>
                  </a:lnTo>
                  <a:lnTo>
                    <a:pt x="79466" y="110966"/>
                  </a:lnTo>
                  <a:lnTo>
                    <a:pt x="79773" y="111273"/>
                  </a:lnTo>
                  <a:lnTo>
                    <a:pt x="79875" y="111273"/>
                  </a:lnTo>
                  <a:lnTo>
                    <a:pt x="79364" y="112500"/>
                  </a:lnTo>
                  <a:lnTo>
                    <a:pt x="79773" y="112193"/>
                  </a:lnTo>
                  <a:lnTo>
                    <a:pt x="80080" y="111170"/>
                  </a:lnTo>
                  <a:lnTo>
                    <a:pt x="79875" y="111273"/>
                  </a:lnTo>
                  <a:lnTo>
                    <a:pt x="79875" y="111273"/>
                  </a:lnTo>
                  <a:lnTo>
                    <a:pt x="81409" y="107898"/>
                  </a:lnTo>
                  <a:lnTo>
                    <a:pt x="81102" y="106159"/>
                  </a:lnTo>
                  <a:lnTo>
                    <a:pt x="81614" y="106057"/>
                  </a:lnTo>
                  <a:lnTo>
                    <a:pt x="81511" y="106159"/>
                  </a:lnTo>
                  <a:lnTo>
                    <a:pt x="85398" y="103705"/>
                  </a:lnTo>
                  <a:lnTo>
                    <a:pt x="85807" y="103602"/>
                  </a:lnTo>
                  <a:lnTo>
                    <a:pt x="85909" y="103398"/>
                  </a:lnTo>
                  <a:lnTo>
                    <a:pt x="86114" y="103705"/>
                  </a:lnTo>
                  <a:lnTo>
                    <a:pt x="86830" y="103602"/>
                  </a:lnTo>
                  <a:lnTo>
                    <a:pt x="86932" y="103091"/>
                  </a:lnTo>
                  <a:lnTo>
                    <a:pt x="87750" y="102580"/>
                  </a:lnTo>
                  <a:lnTo>
                    <a:pt x="89080" y="94398"/>
                  </a:lnTo>
                  <a:lnTo>
                    <a:pt x="89080" y="93170"/>
                  </a:lnTo>
                  <a:lnTo>
                    <a:pt x="89284" y="93068"/>
                  </a:lnTo>
                  <a:lnTo>
                    <a:pt x="89489" y="93375"/>
                  </a:lnTo>
                  <a:lnTo>
                    <a:pt x="90409" y="91534"/>
                  </a:lnTo>
                  <a:lnTo>
                    <a:pt x="90409" y="91739"/>
                  </a:lnTo>
                  <a:lnTo>
                    <a:pt x="92557" y="87136"/>
                  </a:lnTo>
                  <a:lnTo>
                    <a:pt x="91943" y="85398"/>
                  </a:lnTo>
                  <a:lnTo>
                    <a:pt x="84273" y="82739"/>
                  </a:lnTo>
                  <a:lnTo>
                    <a:pt x="84068" y="82943"/>
                  </a:lnTo>
                  <a:lnTo>
                    <a:pt x="83966" y="82534"/>
                  </a:lnTo>
                  <a:lnTo>
                    <a:pt x="83557" y="83352"/>
                  </a:lnTo>
                  <a:lnTo>
                    <a:pt x="83557" y="83352"/>
                  </a:lnTo>
                  <a:lnTo>
                    <a:pt x="83659" y="82636"/>
                  </a:lnTo>
                  <a:lnTo>
                    <a:pt x="83557" y="82330"/>
                  </a:lnTo>
                  <a:lnTo>
                    <a:pt x="83557" y="81818"/>
                  </a:lnTo>
                  <a:lnTo>
                    <a:pt x="80591" y="80795"/>
                  </a:lnTo>
                  <a:lnTo>
                    <a:pt x="79057" y="82739"/>
                  </a:lnTo>
                  <a:lnTo>
                    <a:pt x="79364" y="81818"/>
                  </a:lnTo>
                  <a:lnTo>
                    <a:pt x="78341" y="82125"/>
                  </a:lnTo>
                  <a:lnTo>
                    <a:pt x="77932" y="81307"/>
                  </a:lnTo>
                  <a:lnTo>
                    <a:pt x="77625" y="81205"/>
                  </a:lnTo>
                  <a:lnTo>
                    <a:pt x="77011" y="81614"/>
                  </a:lnTo>
                  <a:lnTo>
                    <a:pt x="76295" y="81614"/>
                  </a:lnTo>
                  <a:lnTo>
                    <a:pt x="78852" y="78750"/>
                  </a:lnTo>
                  <a:lnTo>
                    <a:pt x="77216" y="75375"/>
                  </a:lnTo>
                  <a:lnTo>
                    <a:pt x="77011" y="75580"/>
                  </a:lnTo>
                  <a:lnTo>
                    <a:pt x="76807" y="75068"/>
                  </a:lnTo>
                  <a:lnTo>
                    <a:pt x="76705" y="75170"/>
                  </a:lnTo>
                  <a:lnTo>
                    <a:pt x="75273" y="74148"/>
                  </a:lnTo>
                  <a:lnTo>
                    <a:pt x="75068" y="74557"/>
                  </a:lnTo>
                  <a:lnTo>
                    <a:pt x="74455" y="73841"/>
                  </a:lnTo>
                  <a:lnTo>
                    <a:pt x="73432" y="74148"/>
                  </a:lnTo>
                  <a:lnTo>
                    <a:pt x="72614" y="73943"/>
                  </a:lnTo>
                  <a:lnTo>
                    <a:pt x="72307" y="74352"/>
                  </a:lnTo>
                  <a:lnTo>
                    <a:pt x="72307" y="73739"/>
                  </a:lnTo>
                  <a:lnTo>
                    <a:pt x="71284" y="72920"/>
                  </a:lnTo>
                  <a:lnTo>
                    <a:pt x="70977" y="73432"/>
                  </a:lnTo>
                  <a:lnTo>
                    <a:pt x="70977" y="73432"/>
                  </a:lnTo>
                  <a:lnTo>
                    <a:pt x="71080" y="72307"/>
                  </a:lnTo>
                  <a:lnTo>
                    <a:pt x="69852" y="71284"/>
                  </a:lnTo>
                  <a:lnTo>
                    <a:pt x="68420" y="71182"/>
                  </a:lnTo>
                  <a:lnTo>
                    <a:pt x="68830" y="70875"/>
                  </a:lnTo>
                  <a:lnTo>
                    <a:pt x="69034" y="70568"/>
                  </a:lnTo>
                  <a:lnTo>
                    <a:pt x="68932" y="70159"/>
                  </a:lnTo>
                  <a:lnTo>
                    <a:pt x="68420" y="69852"/>
                  </a:lnTo>
                  <a:lnTo>
                    <a:pt x="68318" y="69955"/>
                  </a:lnTo>
                  <a:lnTo>
                    <a:pt x="68318" y="70159"/>
                  </a:lnTo>
                  <a:lnTo>
                    <a:pt x="67909" y="69852"/>
                  </a:lnTo>
                  <a:lnTo>
                    <a:pt x="67807" y="69955"/>
                  </a:lnTo>
                  <a:lnTo>
                    <a:pt x="67602" y="69545"/>
                  </a:lnTo>
                  <a:lnTo>
                    <a:pt x="67398" y="69648"/>
                  </a:lnTo>
                  <a:lnTo>
                    <a:pt x="67295" y="69239"/>
                  </a:lnTo>
                  <a:lnTo>
                    <a:pt x="68216" y="69034"/>
                  </a:lnTo>
                  <a:lnTo>
                    <a:pt x="66068" y="69136"/>
                  </a:lnTo>
                  <a:lnTo>
                    <a:pt x="66068" y="69239"/>
                  </a:lnTo>
                  <a:lnTo>
                    <a:pt x="66580" y="69239"/>
                  </a:lnTo>
                  <a:lnTo>
                    <a:pt x="65045" y="69648"/>
                  </a:lnTo>
                  <a:lnTo>
                    <a:pt x="64636" y="69443"/>
                  </a:lnTo>
                  <a:lnTo>
                    <a:pt x="64432" y="69136"/>
                  </a:lnTo>
                  <a:lnTo>
                    <a:pt x="62489" y="69136"/>
                  </a:lnTo>
                  <a:lnTo>
                    <a:pt x="62284" y="68523"/>
                  </a:lnTo>
                  <a:lnTo>
                    <a:pt x="61466" y="68216"/>
                  </a:lnTo>
                  <a:lnTo>
                    <a:pt x="61159" y="67705"/>
                  </a:lnTo>
                  <a:lnTo>
                    <a:pt x="60750" y="67705"/>
                  </a:lnTo>
                  <a:lnTo>
                    <a:pt x="61159" y="68114"/>
                  </a:lnTo>
                  <a:lnTo>
                    <a:pt x="59727" y="68727"/>
                  </a:lnTo>
                  <a:lnTo>
                    <a:pt x="59523" y="69239"/>
                  </a:lnTo>
                  <a:lnTo>
                    <a:pt x="59932" y="70057"/>
                  </a:lnTo>
                  <a:lnTo>
                    <a:pt x="59625" y="70670"/>
                  </a:lnTo>
                  <a:lnTo>
                    <a:pt x="59216" y="70364"/>
                  </a:lnTo>
                  <a:lnTo>
                    <a:pt x="59114" y="69648"/>
                  </a:lnTo>
                  <a:lnTo>
                    <a:pt x="59420" y="69239"/>
                  </a:lnTo>
                  <a:lnTo>
                    <a:pt x="59318" y="68727"/>
                  </a:lnTo>
                  <a:lnTo>
                    <a:pt x="59420" y="68727"/>
                  </a:lnTo>
                  <a:lnTo>
                    <a:pt x="59216" y="68114"/>
                  </a:lnTo>
                  <a:lnTo>
                    <a:pt x="59830" y="67807"/>
                  </a:lnTo>
                  <a:lnTo>
                    <a:pt x="59625" y="67295"/>
                  </a:lnTo>
                  <a:lnTo>
                    <a:pt x="56966" y="68932"/>
                  </a:lnTo>
                  <a:lnTo>
                    <a:pt x="56966" y="68727"/>
                  </a:lnTo>
                  <a:lnTo>
                    <a:pt x="56557" y="68625"/>
                  </a:lnTo>
                  <a:lnTo>
                    <a:pt x="55739" y="69648"/>
                  </a:lnTo>
                  <a:lnTo>
                    <a:pt x="55841" y="69545"/>
                  </a:lnTo>
                  <a:lnTo>
                    <a:pt x="55534" y="70364"/>
                  </a:lnTo>
                  <a:lnTo>
                    <a:pt x="54614" y="71182"/>
                  </a:lnTo>
                  <a:lnTo>
                    <a:pt x="54511" y="71898"/>
                  </a:lnTo>
                  <a:lnTo>
                    <a:pt x="52977" y="70364"/>
                  </a:lnTo>
                  <a:lnTo>
                    <a:pt x="52057" y="70261"/>
                  </a:lnTo>
                  <a:lnTo>
                    <a:pt x="51034" y="70875"/>
                  </a:lnTo>
                  <a:lnTo>
                    <a:pt x="50011" y="70670"/>
                  </a:lnTo>
                  <a:lnTo>
                    <a:pt x="50011" y="70670"/>
                  </a:lnTo>
                  <a:lnTo>
                    <a:pt x="50114" y="70875"/>
                  </a:lnTo>
                  <a:lnTo>
                    <a:pt x="48375" y="68420"/>
                  </a:lnTo>
                  <a:lnTo>
                    <a:pt x="48580" y="67602"/>
                  </a:lnTo>
                  <a:lnTo>
                    <a:pt x="48682" y="67705"/>
                  </a:lnTo>
                  <a:lnTo>
                    <a:pt x="48784" y="66989"/>
                  </a:lnTo>
                  <a:lnTo>
                    <a:pt x="48784" y="67193"/>
                  </a:lnTo>
                  <a:lnTo>
                    <a:pt x="49193" y="64739"/>
                  </a:lnTo>
                  <a:lnTo>
                    <a:pt x="48989" y="64330"/>
                  </a:lnTo>
                  <a:lnTo>
                    <a:pt x="48580" y="64125"/>
                  </a:lnTo>
                  <a:lnTo>
                    <a:pt x="48886" y="64227"/>
                  </a:lnTo>
                  <a:lnTo>
                    <a:pt x="48273" y="63716"/>
                  </a:lnTo>
                  <a:lnTo>
                    <a:pt x="44284" y="63614"/>
                  </a:lnTo>
                  <a:lnTo>
                    <a:pt x="45000" y="62795"/>
                  </a:lnTo>
                  <a:lnTo>
                    <a:pt x="45102" y="61159"/>
                  </a:lnTo>
                  <a:lnTo>
                    <a:pt x="45409" y="60648"/>
                  </a:lnTo>
                  <a:lnTo>
                    <a:pt x="45511" y="61261"/>
                  </a:lnTo>
                  <a:lnTo>
                    <a:pt x="46023" y="60136"/>
                  </a:lnTo>
                  <a:lnTo>
                    <a:pt x="45818" y="60239"/>
                  </a:lnTo>
                  <a:lnTo>
                    <a:pt x="46125" y="59932"/>
                  </a:lnTo>
                  <a:lnTo>
                    <a:pt x="46125" y="59625"/>
                  </a:lnTo>
                  <a:lnTo>
                    <a:pt x="46534" y="58807"/>
                  </a:lnTo>
                  <a:lnTo>
                    <a:pt x="46432" y="57989"/>
                  </a:lnTo>
                  <a:lnTo>
                    <a:pt x="43875" y="58295"/>
                  </a:lnTo>
                  <a:lnTo>
                    <a:pt x="42955" y="60239"/>
                  </a:lnTo>
                  <a:lnTo>
                    <a:pt x="42341" y="60648"/>
                  </a:lnTo>
                  <a:lnTo>
                    <a:pt x="42545" y="60648"/>
                  </a:lnTo>
                  <a:lnTo>
                    <a:pt x="42443" y="60955"/>
                  </a:lnTo>
                  <a:lnTo>
                    <a:pt x="39477" y="61261"/>
                  </a:lnTo>
                  <a:lnTo>
                    <a:pt x="38557" y="60750"/>
                  </a:lnTo>
                  <a:lnTo>
                    <a:pt x="38557" y="60750"/>
                  </a:lnTo>
                  <a:lnTo>
                    <a:pt x="38659" y="60852"/>
                  </a:lnTo>
                  <a:lnTo>
                    <a:pt x="38659" y="60852"/>
                  </a:lnTo>
                  <a:lnTo>
                    <a:pt x="38352" y="60648"/>
                  </a:lnTo>
                  <a:lnTo>
                    <a:pt x="38352" y="60648"/>
                  </a:lnTo>
                  <a:lnTo>
                    <a:pt x="38557" y="60750"/>
                  </a:lnTo>
                  <a:lnTo>
                    <a:pt x="37432" y="57989"/>
                  </a:lnTo>
                  <a:lnTo>
                    <a:pt x="37432" y="58193"/>
                  </a:lnTo>
                  <a:lnTo>
                    <a:pt x="37227" y="57375"/>
                  </a:lnTo>
                  <a:lnTo>
                    <a:pt x="37432" y="57989"/>
                  </a:lnTo>
                  <a:lnTo>
                    <a:pt x="38455" y="52159"/>
                  </a:lnTo>
                  <a:lnTo>
                    <a:pt x="38250" y="51750"/>
                  </a:lnTo>
                  <a:lnTo>
                    <a:pt x="38761" y="51545"/>
                  </a:lnTo>
                  <a:lnTo>
                    <a:pt x="38761" y="51341"/>
                  </a:lnTo>
                  <a:lnTo>
                    <a:pt x="39068" y="51136"/>
                  </a:lnTo>
                  <a:lnTo>
                    <a:pt x="38966" y="51136"/>
                  </a:lnTo>
                  <a:lnTo>
                    <a:pt x="39170" y="51034"/>
                  </a:lnTo>
                  <a:lnTo>
                    <a:pt x="39375" y="50830"/>
                  </a:lnTo>
                  <a:lnTo>
                    <a:pt x="39682" y="50727"/>
                  </a:lnTo>
                  <a:lnTo>
                    <a:pt x="39580" y="50523"/>
                  </a:lnTo>
                  <a:lnTo>
                    <a:pt x="40091" y="50625"/>
                  </a:lnTo>
                  <a:lnTo>
                    <a:pt x="41216" y="49909"/>
                  </a:lnTo>
                  <a:lnTo>
                    <a:pt x="41216" y="49705"/>
                  </a:lnTo>
                  <a:lnTo>
                    <a:pt x="41420" y="49398"/>
                  </a:lnTo>
                  <a:lnTo>
                    <a:pt x="41420" y="49602"/>
                  </a:lnTo>
                  <a:lnTo>
                    <a:pt x="41625" y="49602"/>
                  </a:lnTo>
                  <a:lnTo>
                    <a:pt x="41318" y="49807"/>
                  </a:lnTo>
                  <a:lnTo>
                    <a:pt x="42341" y="49193"/>
                  </a:lnTo>
                  <a:lnTo>
                    <a:pt x="43773" y="49602"/>
                  </a:lnTo>
                  <a:lnTo>
                    <a:pt x="43977" y="49398"/>
                  </a:lnTo>
                  <a:lnTo>
                    <a:pt x="44489" y="49602"/>
                  </a:lnTo>
                  <a:lnTo>
                    <a:pt x="44489" y="49909"/>
                  </a:lnTo>
                  <a:lnTo>
                    <a:pt x="44386" y="49909"/>
                  </a:lnTo>
                  <a:lnTo>
                    <a:pt x="45205" y="50114"/>
                  </a:lnTo>
                  <a:lnTo>
                    <a:pt x="45409" y="49705"/>
                  </a:lnTo>
                  <a:lnTo>
                    <a:pt x="45920" y="50216"/>
                  </a:lnTo>
                  <a:lnTo>
                    <a:pt x="46125" y="50216"/>
                  </a:lnTo>
                  <a:lnTo>
                    <a:pt x="45818" y="49705"/>
                  </a:lnTo>
                  <a:lnTo>
                    <a:pt x="46227" y="49091"/>
                  </a:lnTo>
                  <a:lnTo>
                    <a:pt x="46227" y="49091"/>
                  </a:lnTo>
                  <a:lnTo>
                    <a:pt x="45920" y="49295"/>
                  </a:lnTo>
                  <a:lnTo>
                    <a:pt x="46023" y="48989"/>
                  </a:lnTo>
                  <a:lnTo>
                    <a:pt x="45307" y="49091"/>
                  </a:lnTo>
                  <a:lnTo>
                    <a:pt x="47557" y="48477"/>
                  </a:lnTo>
                  <a:lnTo>
                    <a:pt x="47557" y="48477"/>
                  </a:lnTo>
                  <a:lnTo>
                    <a:pt x="47455" y="48989"/>
                  </a:lnTo>
                  <a:lnTo>
                    <a:pt x="47966" y="48784"/>
                  </a:lnTo>
                  <a:lnTo>
                    <a:pt x="47966" y="48886"/>
                  </a:lnTo>
                  <a:lnTo>
                    <a:pt x="48477" y="48580"/>
                  </a:lnTo>
                  <a:lnTo>
                    <a:pt x="48477" y="48580"/>
                  </a:lnTo>
                  <a:lnTo>
                    <a:pt x="48170" y="48886"/>
                  </a:lnTo>
                  <a:lnTo>
                    <a:pt x="48886" y="48784"/>
                  </a:lnTo>
                  <a:lnTo>
                    <a:pt x="49602" y="48886"/>
                  </a:lnTo>
                  <a:lnTo>
                    <a:pt x="49500" y="49091"/>
                  </a:lnTo>
                  <a:lnTo>
                    <a:pt x="49655" y="49401"/>
                  </a:lnTo>
                  <a:lnTo>
                    <a:pt x="49655" y="49401"/>
                  </a:lnTo>
                  <a:lnTo>
                    <a:pt x="51239" y="49500"/>
                  </a:lnTo>
                  <a:lnTo>
                    <a:pt x="51750" y="50216"/>
                  </a:lnTo>
                  <a:lnTo>
                    <a:pt x="51443" y="51545"/>
                  </a:lnTo>
                  <a:lnTo>
                    <a:pt x="51648" y="51239"/>
                  </a:lnTo>
                  <a:lnTo>
                    <a:pt x="51852" y="51341"/>
                  </a:lnTo>
                  <a:lnTo>
                    <a:pt x="51443" y="51750"/>
                  </a:lnTo>
                  <a:lnTo>
                    <a:pt x="52670" y="54102"/>
                  </a:lnTo>
                  <a:lnTo>
                    <a:pt x="52875" y="54102"/>
                  </a:lnTo>
                  <a:lnTo>
                    <a:pt x="53485" y="53390"/>
                  </a:lnTo>
                  <a:lnTo>
                    <a:pt x="53485" y="53390"/>
                  </a:lnTo>
                  <a:lnTo>
                    <a:pt x="53403" y="50915"/>
                  </a:lnTo>
                  <a:lnTo>
                    <a:pt x="53591" y="50727"/>
                  </a:lnTo>
                  <a:lnTo>
                    <a:pt x="53489" y="47761"/>
                  </a:lnTo>
                  <a:lnTo>
                    <a:pt x="53693" y="47659"/>
                  </a:lnTo>
                  <a:lnTo>
                    <a:pt x="54307" y="46636"/>
                  </a:lnTo>
                  <a:lnTo>
                    <a:pt x="54307" y="46841"/>
                  </a:lnTo>
                  <a:lnTo>
                    <a:pt x="54409" y="46739"/>
                  </a:lnTo>
                  <a:lnTo>
                    <a:pt x="54409" y="46636"/>
                  </a:lnTo>
                  <a:lnTo>
                    <a:pt x="55841" y="45716"/>
                  </a:lnTo>
                  <a:lnTo>
                    <a:pt x="55841" y="45818"/>
                  </a:lnTo>
                  <a:lnTo>
                    <a:pt x="57170" y="44898"/>
                  </a:lnTo>
                  <a:lnTo>
                    <a:pt x="57170" y="45102"/>
                  </a:lnTo>
                  <a:lnTo>
                    <a:pt x="57784" y="44284"/>
                  </a:lnTo>
                  <a:lnTo>
                    <a:pt x="58705" y="44080"/>
                  </a:lnTo>
                  <a:lnTo>
                    <a:pt x="58193" y="43875"/>
                  </a:lnTo>
                  <a:lnTo>
                    <a:pt x="58602" y="43875"/>
                  </a:lnTo>
                  <a:lnTo>
                    <a:pt x="58295" y="43466"/>
                  </a:lnTo>
                  <a:lnTo>
                    <a:pt x="59420" y="43364"/>
                  </a:lnTo>
                  <a:lnTo>
                    <a:pt x="59523" y="43057"/>
                  </a:lnTo>
                  <a:lnTo>
                    <a:pt x="59523" y="43057"/>
                  </a:lnTo>
                  <a:lnTo>
                    <a:pt x="59216" y="43364"/>
                  </a:lnTo>
                  <a:lnTo>
                    <a:pt x="58705" y="43057"/>
                  </a:lnTo>
                  <a:lnTo>
                    <a:pt x="58807" y="42750"/>
                  </a:lnTo>
                  <a:lnTo>
                    <a:pt x="59216" y="42852"/>
                  </a:lnTo>
                  <a:lnTo>
                    <a:pt x="59318" y="42750"/>
                  </a:lnTo>
                  <a:lnTo>
                    <a:pt x="59523" y="42852"/>
                  </a:lnTo>
                  <a:lnTo>
                    <a:pt x="59523" y="42545"/>
                  </a:lnTo>
                  <a:lnTo>
                    <a:pt x="59420" y="42034"/>
                  </a:lnTo>
                  <a:lnTo>
                    <a:pt x="59216" y="41932"/>
                  </a:lnTo>
                  <a:lnTo>
                    <a:pt x="58705" y="41625"/>
                  </a:lnTo>
                  <a:lnTo>
                    <a:pt x="59114" y="41727"/>
                  </a:lnTo>
                  <a:lnTo>
                    <a:pt x="59216" y="41932"/>
                  </a:lnTo>
                  <a:lnTo>
                    <a:pt x="59216" y="41932"/>
                  </a:lnTo>
                  <a:lnTo>
                    <a:pt x="59114" y="41420"/>
                  </a:lnTo>
                  <a:lnTo>
                    <a:pt x="59420" y="41420"/>
                  </a:lnTo>
                  <a:lnTo>
                    <a:pt x="59523" y="41318"/>
                  </a:lnTo>
                  <a:lnTo>
                    <a:pt x="59011" y="40705"/>
                  </a:lnTo>
                  <a:lnTo>
                    <a:pt x="59523" y="41216"/>
                  </a:lnTo>
                  <a:lnTo>
                    <a:pt x="59523" y="40807"/>
                  </a:lnTo>
                  <a:lnTo>
                    <a:pt x="58909" y="40500"/>
                  </a:lnTo>
                  <a:lnTo>
                    <a:pt x="59318" y="39989"/>
                  </a:lnTo>
                  <a:lnTo>
                    <a:pt x="59011" y="40500"/>
                  </a:lnTo>
                  <a:lnTo>
                    <a:pt x="59216" y="40398"/>
                  </a:lnTo>
                  <a:lnTo>
                    <a:pt x="59216" y="40602"/>
                  </a:lnTo>
                  <a:lnTo>
                    <a:pt x="59318" y="40500"/>
                  </a:lnTo>
                  <a:lnTo>
                    <a:pt x="59625" y="40807"/>
                  </a:lnTo>
                  <a:lnTo>
                    <a:pt x="59523" y="40295"/>
                  </a:lnTo>
                  <a:lnTo>
                    <a:pt x="59727" y="40500"/>
                  </a:lnTo>
                  <a:lnTo>
                    <a:pt x="59830" y="39580"/>
                  </a:lnTo>
                  <a:lnTo>
                    <a:pt x="60034" y="39477"/>
                  </a:lnTo>
                  <a:lnTo>
                    <a:pt x="60034" y="39580"/>
                  </a:lnTo>
                  <a:lnTo>
                    <a:pt x="60136" y="39375"/>
                  </a:lnTo>
                  <a:lnTo>
                    <a:pt x="60136" y="39477"/>
                  </a:lnTo>
                  <a:lnTo>
                    <a:pt x="60443" y="39273"/>
                  </a:lnTo>
                  <a:lnTo>
                    <a:pt x="60443" y="39375"/>
                  </a:lnTo>
                  <a:lnTo>
                    <a:pt x="60341" y="39477"/>
                  </a:lnTo>
                  <a:lnTo>
                    <a:pt x="60443" y="39477"/>
                  </a:lnTo>
                  <a:lnTo>
                    <a:pt x="60034" y="39784"/>
                  </a:lnTo>
                  <a:lnTo>
                    <a:pt x="60136" y="39784"/>
                  </a:lnTo>
                  <a:lnTo>
                    <a:pt x="59830" y="40193"/>
                  </a:lnTo>
                  <a:lnTo>
                    <a:pt x="60136" y="40295"/>
                  </a:lnTo>
                  <a:lnTo>
                    <a:pt x="60136" y="40500"/>
                  </a:lnTo>
                  <a:lnTo>
                    <a:pt x="60034" y="40705"/>
                  </a:lnTo>
                  <a:lnTo>
                    <a:pt x="60034" y="40909"/>
                  </a:lnTo>
                  <a:lnTo>
                    <a:pt x="60136" y="40909"/>
                  </a:lnTo>
                  <a:lnTo>
                    <a:pt x="59727" y="41830"/>
                  </a:lnTo>
                  <a:lnTo>
                    <a:pt x="60750" y="40500"/>
                  </a:lnTo>
                  <a:lnTo>
                    <a:pt x="60750" y="39375"/>
                  </a:lnTo>
                  <a:lnTo>
                    <a:pt x="61057" y="39886"/>
                  </a:lnTo>
                  <a:lnTo>
                    <a:pt x="62182" y="38864"/>
                  </a:lnTo>
                  <a:lnTo>
                    <a:pt x="62386" y="38455"/>
                  </a:lnTo>
                  <a:lnTo>
                    <a:pt x="62284" y="38250"/>
                  </a:lnTo>
                  <a:lnTo>
                    <a:pt x="62591" y="37636"/>
                  </a:lnTo>
                  <a:lnTo>
                    <a:pt x="62489" y="38148"/>
                  </a:lnTo>
                  <a:lnTo>
                    <a:pt x="64943" y="37125"/>
                  </a:lnTo>
                  <a:lnTo>
                    <a:pt x="65045" y="37227"/>
                  </a:lnTo>
                  <a:lnTo>
                    <a:pt x="65148" y="37125"/>
                  </a:lnTo>
                  <a:lnTo>
                    <a:pt x="65148" y="37125"/>
                  </a:lnTo>
                  <a:lnTo>
                    <a:pt x="65045" y="37432"/>
                  </a:lnTo>
                  <a:lnTo>
                    <a:pt x="65557" y="37227"/>
                  </a:lnTo>
                  <a:lnTo>
                    <a:pt x="65557" y="37227"/>
                  </a:lnTo>
                  <a:lnTo>
                    <a:pt x="65455" y="37330"/>
                  </a:lnTo>
                  <a:lnTo>
                    <a:pt x="66068" y="37227"/>
                  </a:lnTo>
                  <a:lnTo>
                    <a:pt x="65966" y="36818"/>
                  </a:lnTo>
                  <a:lnTo>
                    <a:pt x="65761" y="37125"/>
                  </a:lnTo>
                  <a:lnTo>
                    <a:pt x="65455" y="36614"/>
                  </a:lnTo>
                  <a:lnTo>
                    <a:pt x="66784" y="35080"/>
                  </a:lnTo>
                  <a:lnTo>
                    <a:pt x="66886" y="35182"/>
                  </a:lnTo>
                  <a:lnTo>
                    <a:pt x="66989" y="34977"/>
                  </a:lnTo>
                  <a:lnTo>
                    <a:pt x="66989" y="35080"/>
                  </a:lnTo>
                  <a:lnTo>
                    <a:pt x="67091" y="34875"/>
                  </a:lnTo>
                  <a:lnTo>
                    <a:pt x="67091" y="35080"/>
                  </a:lnTo>
                  <a:lnTo>
                    <a:pt x="67193" y="34977"/>
                  </a:lnTo>
                  <a:lnTo>
                    <a:pt x="68011" y="34364"/>
                  </a:lnTo>
                  <a:lnTo>
                    <a:pt x="68011" y="34466"/>
                  </a:lnTo>
                  <a:lnTo>
                    <a:pt x="67909" y="34568"/>
                  </a:lnTo>
                  <a:lnTo>
                    <a:pt x="68114" y="34670"/>
                  </a:lnTo>
                  <a:lnTo>
                    <a:pt x="68216" y="34364"/>
                  </a:lnTo>
                  <a:lnTo>
                    <a:pt x="68523" y="34568"/>
                  </a:lnTo>
                  <a:lnTo>
                    <a:pt x="69136" y="34261"/>
                  </a:lnTo>
                  <a:lnTo>
                    <a:pt x="69545" y="33648"/>
                  </a:lnTo>
                  <a:lnTo>
                    <a:pt x="70568" y="33443"/>
                  </a:lnTo>
                  <a:lnTo>
                    <a:pt x="70466" y="33545"/>
                  </a:lnTo>
                  <a:lnTo>
                    <a:pt x="71795" y="32932"/>
                  </a:lnTo>
                  <a:lnTo>
                    <a:pt x="72102" y="33034"/>
                  </a:lnTo>
                  <a:lnTo>
                    <a:pt x="71386" y="33443"/>
                  </a:lnTo>
                  <a:lnTo>
                    <a:pt x="72716" y="33443"/>
                  </a:lnTo>
                  <a:lnTo>
                    <a:pt x="71898" y="33852"/>
                  </a:lnTo>
                  <a:lnTo>
                    <a:pt x="71898" y="33545"/>
                  </a:lnTo>
                  <a:lnTo>
                    <a:pt x="71795" y="33545"/>
                  </a:lnTo>
                  <a:lnTo>
                    <a:pt x="70568" y="34261"/>
                  </a:lnTo>
                  <a:lnTo>
                    <a:pt x="70568" y="34261"/>
                  </a:lnTo>
                  <a:lnTo>
                    <a:pt x="70364" y="34364"/>
                  </a:lnTo>
                  <a:lnTo>
                    <a:pt x="69955" y="35182"/>
                  </a:lnTo>
                  <a:lnTo>
                    <a:pt x="70261" y="35386"/>
                  </a:lnTo>
                  <a:lnTo>
                    <a:pt x="71795" y="34364"/>
                  </a:lnTo>
                  <a:lnTo>
                    <a:pt x="71795" y="34466"/>
                  </a:lnTo>
                  <a:lnTo>
                    <a:pt x="71898" y="34261"/>
                  </a:lnTo>
                  <a:lnTo>
                    <a:pt x="74250" y="33648"/>
                  </a:lnTo>
                  <a:lnTo>
                    <a:pt x="74250" y="33443"/>
                  </a:lnTo>
                  <a:lnTo>
                    <a:pt x="74250" y="33136"/>
                  </a:lnTo>
                  <a:lnTo>
                    <a:pt x="73943" y="32932"/>
                  </a:lnTo>
                  <a:lnTo>
                    <a:pt x="73227" y="33239"/>
                  </a:lnTo>
                  <a:lnTo>
                    <a:pt x="73330" y="33136"/>
                  </a:lnTo>
                  <a:lnTo>
                    <a:pt x="72307" y="32830"/>
                  </a:lnTo>
                  <a:lnTo>
                    <a:pt x="72511" y="32727"/>
                  </a:lnTo>
                  <a:lnTo>
                    <a:pt x="72000" y="32420"/>
                  </a:lnTo>
                  <a:lnTo>
                    <a:pt x="72000" y="31807"/>
                  </a:lnTo>
                  <a:lnTo>
                    <a:pt x="71693" y="31705"/>
                  </a:lnTo>
                  <a:lnTo>
                    <a:pt x="72409" y="31091"/>
                  </a:lnTo>
                  <a:lnTo>
                    <a:pt x="72146" y="31003"/>
                  </a:lnTo>
                  <a:lnTo>
                    <a:pt x="72146" y="31003"/>
                  </a:lnTo>
                  <a:lnTo>
                    <a:pt x="71795" y="31091"/>
                  </a:lnTo>
                  <a:lnTo>
                    <a:pt x="70875" y="30784"/>
                  </a:lnTo>
                  <a:lnTo>
                    <a:pt x="72102" y="30784"/>
                  </a:lnTo>
                  <a:lnTo>
                    <a:pt x="72818" y="29966"/>
                  </a:lnTo>
                  <a:lnTo>
                    <a:pt x="70568" y="29966"/>
                  </a:lnTo>
                  <a:lnTo>
                    <a:pt x="63307" y="33852"/>
                  </a:lnTo>
                  <a:lnTo>
                    <a:pt x="63307" y="33852"/>
                  </a:lnTo>
                  <a:lnTo>
                    <a:pt x="68114" y="31091"/>
                  </a:lnTo>
                  <a:lnTo>
                    <a:pt x="67602" y="30375"/>
                  </a:lnTo>
                  <a:lnTo>
                    <a:pt x="79977" y="27205"/>
                  </a:lnTo>
                  <a:lnTo>
                    <a:pt x="80795" y="26489"/>
                  </a:lnTo>
                  <a:lnTo>
                    <a:pt x="80591" y="26284"/>
                  </a:lnTo>
                  <a:lnTo>
                    <a:pt x="81000" y="26080"/>
                  </a:lnTo>
                  <a:lnTo>
                    <a:pt x="81205" y="25466"/>
                  </a:lnTo>
                  <a:lnTo>
                    <a:pt x="80898" y="25159"/>
                  </a:lnTo>
                  <a:lnTo>
                    <a:pt x="80080" y="25364"/>
                  </a:lnTo>
                  <a:lnTo>
                    <a:pt x="79977" y="25261"/>
                  </a:lnTo>
                  <a:lnTo>
                    <a:pt x="80386" y="24852"/>
                  </a:lnTo>
                  <a:lnTo>
                    <a:pt x="79875" y="24750"/>
                  </a:lnTo>
                  <a:lnTo>
                    <a:pt x="77727" y="25568"/>
                  </a:lnTo>
                  <a:lnTo>
                    <a:pt x="78034" y="25364"/>
                  </a:lnTo>
                  <a:lnTo>
                    <a:pt x="77830" y="25261"/>
                  </a:lnTo>
                  <a:lnTo>
                    <a:pt x="80182" y="24545"/>
                  </a:lnTo>
                  <a:lnTo>
                    <a:pt x="80182" y="24034"/>
                  </a:lnTo>
                  <a:lnTo>
                    <a:pt x="79773" y="24136"/>
                  </a:lnTo>
                  <a:lnTo>
                    <a:pt x="79261" y="23727"/>
                  </a:lnTo>
                  <a:lnTo>
                    <a:pt x="78648" y="24034"/>
                  </a:lnTo>
                  <a:lnTo>
                    <a:pt x="79159" y="23727"/>
                  </a:lnTo>
                  <a:lnTo>
                    <a:pt x="78852" y="23625"/>
                  </a:lnTo>
                  <a:lnTo>
                    <a:pt x="78239" y="23830"/>
                  </a:lnTo>
                  <a:lnTo>
                    <a:pt x="78648" y="23523"/>
                  </a:lnTo>
                  <a:lnTo>
                    <a:pt x="78648" y="23114"/>
                  </a:lnTo>
                  <a:lnTo>
                    <a:pt x="78545" y="23216"/>
                  </a:lnTo>
                  <a:lnTo>
                    <a:pt x="78443" y="23011"/>
                  </a:lnTo>
                  <a:lnTo>
                    <a:pt x="77932" y="22909"/>
                  </a:lnTo>
                  <a:lnTo>
                    <a:pt x="78136" y="22705"/>
                  </a:lnTo>
                  <a:lnTo>
                    <a:pt x="77830" y="22705"/>
                  </a:lnTo>
                  <a:lnTo>
                    <a:pt x="78136" y="22602"/>
                  </a:lnTo>
                  <a:lnTo>
                    <a:pt x="77727" y="22500"/>
                  </a:lnTo>
                  <a:lnTo>
                    <a:pt x="77932" y="22398"/>
                  </a:lnTo>
                  <a:lnTo>
                    <a:pt x="77523" y="22193"/>
                  </a:lnTo>
                  <a:lnTo>
                    <a:pt x="78341" y="22091"/>
                  </a:lnTo>
                  <a:lnTo>
                    <a:pt x="77727" y="21477"/>
                  </a:lnTo>
                  <a:lnTo>
                    <a:pt x="78341" y="21170"/>
                  </a:lnTo>
                  <a:lnTo>
                    <a:pt x="78034" y="20864"/>
                  </a:lnTo>
                  <a:lnTo>
                    <a:pt x="77420" y="20966"/>
                  </a:lnTo>
                  <a:lnTo>
                    <a:pt x="77420" y="20966"/>
                  </a:lnTo>
                  <a:lnTo>
                    <a:pt x="78136" y="20557"/>
                  </a:lnTo>
                  <a:lnTo>
                    <a:pt x="77318" y="20659"/>
                  </a:lnTo>
                  <a:lnTo>
                    <a:pt x="77318" y="20659"/>
                  </a:lnTo>
                  <a:lnTo>
                    <a:pt x="77932" y="20455"/>
                  </a:lnTo>
                  <a:lnTo>
                    <a:pt x="77727" y="20148"/>
                  </a:lnTo>
                  <a:lnTo>
                    <a:pt x="77932" y="20045"/>
                  </a:lnTo>
                  <a:lnTo>
                    <a:pt x="77318" y="20045"/>
                  </a:lnTo>
                  <a:lnTo>
                    <a:pt x="77727" y="19943"/>
                  </a:lnTo>
                  <a:lnTo>
                    <a:pt x="77523" y="19636"/>
                  </a:lnTo>
                  <a:lnTo>
                    <a:pt x="77727" y="19534"/>
                  </a:lnTo>
                  <a:lnTo>
                    <a:pt x="77625" y="19330"/>
                  </a:lnTo>
                  <a:lnTo>
                    <a:pt x="77420" y="19330"/>
                  </a:lnTo>
                  <a:lnTo>
                    <a:pt x="77216" y="19125"/>
                  </a:lnTo>
                  <a:lnTo>
                    <a:pt x="77216" y="18818"/>
                  </a:lnTo>
                  <a:lnTo>
                    <a:pt x="76705" y="19739"/>
                  </a:lnTo>
                  <a:lnTo>
                    <a:pt x="76398" y="19739"/>
                  </a:lnTo>
                  <a:lnTo>
                    <a:pt x="76295" y="20045"/>
                  </a:lnTo>
                  <a:lnTo>
                    <a:pt x="75580" y="20557"/>
                  </a:lnTo>
                  <a:lnTo>
                    <a:pt x="75477" y="20250"/>
                  </a:lnTo>
                  <a:lnTo>
                    <a:pt x="74148" y="21068"/>
                  </a:lnTo>
                  <a:lnTo>
                    <a:pt x="74250" y="20659"/>
                  </a:lnTo>
                  <a:lnTo>
                    <a:pt x="73943" y="20864"/>
                  </a:lnTo>
                  <a:lnTo>
                    <a:pt x="73841" y="20761"/>
                  </a:lnTo>
                  <a:lnTo>
                    <a:pt x="73739" y="20761"/>
                  </a:lnTo>
                  <a:lnTo>
                    <a:pt x="73943" y="20250"/>
                  </a:lnTo>
                  <a:lnTo>
                    <a:pt x="72716" y="20250"/>
                  </a:lnTo>
                  <a:lnTo>
                    <a:pt x="73534" y="19739"/>
                  </a:lnTo>
                  <a:lnTo>
                    <a:pt x="73330" y="19739"/>
                  </a:lnTo>
                  <a:lnTo>
                    <a:pt x="73534" y="19330"/>
                  </a:lnTo>
                  <a:lnTo>
                    <a:pt x="72920" y="19125"/>
                  </a:lnTo>
                  <a:lnTo>
                    <a:pt x="73636" y="19023"/>
                  </a:lnTo>
                  <a:lnTo>
                    <a:pt x="74148" y="18102"/>
                  </a:lnTo>
                  <a:lnTo>
                    <a:pt x="74148" y="18102"/>
                  </a:lnTo>
                  <a:lnTo>
                    <a:pt x="73841" y="18307"/>
                  </a:lnTo>
                  <a:lnTo>
                    <a:pt x="72716" y="17795"/>
                  </a:lnTo>
                  <a:lnTo>
                    <a:pt x="73023" y="17591"/>
                  </a:lnTo>
                  <a:lnTo>
                    <a:pt x="72511" y="17591"/>
                  </a:lnTo>
                  <a:lnTo>
                    <a:pt x="72000" y="16875"/>
                  </a:lnTo>
                  <a:lnTo>
                    <a:pt x="70364" y="17080"/>
                  </a:lnTo>
                  <a:lnTo>
                    <a:pt x="70466" y="16977"/>
                  </a:lnTo>
                  <a:lnTo>
                    <a:pt x="68932" y="16875"/>
                  </a:lnTo>
                  <a:lnTo>
                    <a:pt x="68727" y="17693"/>
                  </a:lnTo>
                  <a:lnTo>
                    <a:pt x="67909" y="18307"/>
                  </a:lnTo>
                  <a:lnTo>
                    <a:pt x="68318" y="18307"/>
                  </a:lnTo>
                  <a:lnTo>
                    <a:pt x="67909" y="19023"/>
                  </a:lnTo>
                  <a:lnTo>
                    <a:pt x="68114" y="19125"/>
                  </a:lnTo>
                  <a:lnTo>
                    <a:pt x="66580" y="20250"/>
                  </a:lnTo>
                  <a:lnTo>
                    <a:pt x="67193" y="21784"/>
                  </a:lnTo>
                  <a:lnTo>
                    <a:pt x="63511" y="24239"/>
                  </a:lnTo>
                  <a:lnTo>
                    <a:pt x="63716" y="24750"/>
                  </a:lnTo>
                  <a:lnTo>
                    <a:pt x="63614" y="24750"/>
                  </a:lnTo>
                  <a:lnTo>
                    <a:pt x="63716" y="25057"/>
                  </a:lnTo>
                  <a:lnTo>
                    <a:pt x="63307" y="26591"/>
                  </a:lnTo>
                  <a:lnTo>
                    <a:pt x="62693" y="27000"/>
                  </a:lnTo>
                  <a:lnTo>
                    <a:pt x="62795" y="27307"/>
                  </a:lnTo>
                  <a:lnTo>
                    <a:pt x="62489" y="27614"/>
                  </a:lnTo>
                  <a:lnTo>
                    <a:pt x="62386" y="27205"/>
                  </a:lnTo>
                  <a:lnTo>
                    <a:pt x="61977" y="27511"/>
                  </a:lnTo>
                  <a:lnTo>
                    <a:pt x="61977" y="28023"/>
                  </a:lnTo>
                  <a:lnTo>
                    <a:pt x="60955" y="27716"/>
                  </a:lnTo>
                  <a:lnTo>
                    <a:pt x="61364" y="27000"/>
                  </a:lnTo>
                  <a:lnTo>
                    <a:pt x="60648" y="26591"/>
                  </a:lnTo>
                  <a:lnTo>
                    <a:pt x="61466" y="24341"/>
                  </a:lnTo>
                  <a:lnTo>
                    <a:pt x="60852" y="23625"/>
                  </a:lnTo>
                  <a:lnTo>
                    <a:pt x="59420" y="23830"/>
                  </a:lnTo>
                  <a:lnTo>
                    <a:pt x="59216" y="23216"/>
                  </a:lnTo>
                  <a:lnTo>
                    <a:pt x="57682" y="22091"/>
                  </a:lnTo>
                  <a:lnTo>
                    <a:pt x="55227" y="21989"/>
                  </a:lnTo>
                  <a:lnTo>
                    <a:pt x="55330" y="21886"/>
                  </a:lnTo>
                  <a:lnTo>
                    <a:pt x="54920" y="22091"/>
                  </a:lnTo>
                  <a:lnTo>
                    <a:pt x="55636" y="20761"/>
                  </a:lnTo>
                  <a:lnTo>
                    <a:pt x="55534" y="20250"/>
                  </a:lnTo>
                  <a:lnTo>
                    <a:pt x="54614" y="20761"/>
                  </a:lnTo>
                  <a:lnTo>
                    <a:pt x="54920" y="20352"/>
                  </a:lnTo>
                  <a:lnTo>
                    <a:pt x="54716" y="20045"/>
                  </a:lnTo>
                  <a:lnTo>
                    <a:pt x="57580" y="17489"/>
                  </a:lnTo>
                  <a:lnTo>
                    <a:pt x="57580" y="17284"/>
                  </a:lnTo>
                  <a:lnTo>
                    <a:pt x="58091" y="16875"/>
                  </a:lnTo>
                  <a:lnTo>
                    <a:pt x="58398" y="17080"/>
                  </a:lnTo>
                  <a:lnTo>
                    <a:pt x="58398" y="16875"/>
                  </a:lnTo>
                  <a:lnTo>
                    <a:pt x="59114" y="16670"/>
                  </a:lnTo>
                  <a:lnTo>
                    <a:pt x="59216" y="16466"/>
                  </a:lnTo>
                  <a:lnTo>
                    <a:pt x="60136" y="16364"/>
                  </a:lnTo>
                  <a:lnTo>
                    <a:pt x="60239" y="15852"/>
                  </a:lnTo>
                  <a:lnTo>
                    <a:pt x="59830" y="15648"/>
                  </a:lnTo>
                  <a:lnTo>
                    <a:pt x="59420" y="15852"/>
                  </a:lnTo>
                  <a:lnTo>
                    <a:pt x="59727" y="15648"/>
                  </a:lnTo>
                  <a:lnTo>
                    <a:pt x="59011" y="15443"/>
                  </a:lnTo>
                  <a:lnTo>
                    <a:pt x="58909" y="15239"/>
                  </a:lnTo>
                  <a:lnTo>
                    <a:pt x="59932" y="15545"/>
                  </a:lnTo>
                  <a:lnTo>
                    <a:pt x="59932" y="15648"/>
                  </a:lnTo>
                  <a:lnTo>
                    <a:pt x="64227" y="14318"/>
                  </a:lnTo>
                  <a:lnTo>
                    <a:pt x="61670" y="13602"/>
                  </a:lnTo>
                  <a:lnTo>
                    <a:pt x="62693" y="13705"/>
                  </a:lnTo>
                  <a:lnTo>
                    <a:pt x="64330" y="14114"/>
                  </a:lnTo>
                  <a:lnTo>
                    <a:pt x="65455" y="13602"/>
                  </a:lnTo>
                  <a:lnTo>
                    <a:pt x="65250" y="13193"/>
                  </a:lnTo>
                  <a:lnTo>
                    <a:pt x="66170" y="13091"/>
                  </a:lnTo>
                  <a:lnTo>
                    <a:pt x="66375" y="13398"/>
                  </a:lnTo>
                  <a:lnTo>
                    <a:pt x="66784" y="13295"/>
                  </a:lnTo>
                  <a:lnTo>
                    <a:pt x="67091" y="13091"/>
                  </a:lnTo>
                  <a:lnTo>
                    <a:pt x="66580" y="12784"/>
                  </a:lnTo>
                  <a:lnTo>
                    <a:pt x="66580" y="12784"/>
                  </a:lnTo>
                  <a:lnTo>
                    <a:pt x="67091" y="12886"/>
                  </a:lnTo>
                  <a:lnTo>
                    <a:pt x="67398" y="13295"/>
                  </a:lnTo>
                  <a:lnTo>
                    <a:pt x="69545" y="12273"/>
                  </a:lnTo>
                  <a:lnTo>
                    <a:pt x="69443" y="11659"/>
                  </a:lnTo>
                  <a:lnTo>
                    <a:pt x="69955" y="11045"/>
                  </a:lnTo>
                  <a:lnTo>
                    <a:pt x="70568" y="10841"/>
                  </a:lnTo>
                  <a:lnTo>
                    <a:pt x="69955" y="10739"/>
                  </a:lnTo>
                  <a:lnTo>
                    <a:pt x="69852" y="10534"/>
                  </a:lnTo>
                  <a:lnTo>
                    <a:pt x="70159" y="10432"/>
                  </a:lnTo>
                  <a:lnTo>
                    <a:pt x="68216" y="10227"/>
                  </a:lnTo>
                  <a:lnTo>
                    <a:pt x="67909" y="10739"/>
                  </a:lnTo>
                  <a:lnTo>
                    <a:pt x="68114" y="10943"/>
                  </a:lnTo>
                  <a:lnTo>
                    <a:pt x="67807" y="11045"/>
                  </a:lnTo>
                  <a:lnTo>
                    <a:pt x="68011" y="11148"/>
                  </a:lnTo>
                  <a:lnTo>
                    <a:pt x="65352" y="12580"/>
                  </a:lnTo>
                  <a:lnTo>
                    <a:pt x="65148" y="11761"/>
                  </a:lnTo>
                  <a:lnTo>
                    <a:pt x="65352" y="11557"/>
                  </a:lnTo>
                  <a:lnTo>
                    <a:pt x="65455" y="11557"/>
                  </a:lnTo>
                  <a:lnTo>
                    <a:pt x="65864" y="11045"/>
                  </a:lnTo>
                  <a:lnTo>
                    <a:pt x="64841" y="11045"/>
                  </a:lnTo>
                  <a:lnTo>
                    <a:pt x="64023" y="11557"/>
                  </a:lnTo>
                  <a:lnTo>
                    <a:pt x="64023" y="11557"/>
                  </a:lnTo>
                  <a:lnTo>
                    <a:pt x="64125" y="10739"/>
                  </a:lnTo>
                  <a:lnTo>
                    <a:pt x="64739" y="10534"/>
                  </a:lnTo>
                  <a:lnTo>
                    <a:pt x="64125" y="10534"/>
                  </a:lnTo>
                  <a:lnTo>
                    <a:pt x="64432" y="10432"/>
                  </a:lnTo>
                  <a:lnTo>
                    <a:pt x="63307" y="10330"/>
                  </a:lnTo>
                  <a:lnTo>
                    <a:pt x="64125" y="10023"/>
                  </a:lnTo>
                  <a:lnTo>
                    <a:pt x="63818" y="10023"/>
                  </a:lnTo>
                  <a:lnTo>
                    <a:pt x="64330" y="9920"/>
                  </a:lnTo>
                  <a:lnTo>
                    <a:pt x="64125" y="9409"/>
                  </a:lnTo>
                  <a:lnTo>
                    <a:pt x="64432" y="9000"/>
                  </a:lnTo>
                  <a:lnTo>
                    <a:pt x="64227" y="8591"/>
                  </a:lnTo>
                  <a:lnTo>
                    <a:pt x="63920" y="838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88" name="Shape 1556"/>
            <p:cNvSpPr/>
            <p:nvPr/>
          </p:nvSpPr>
          <p:spPr>
            <a:xfrm>
              <a:off x="2067527" y="1419687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89" name="Shape 1557"/>
            <p:cNvSpPr/>
            <p:nvPr/>
          </p:nvSpPr>
          <p:spPr>
            <a:xfrm>
              <a:off x="3783647" y="2957509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90" name="Shape 1558"/>
            <p:cNvSpPr/>
            <p:nvPr/>
          </p:nvSpPr>
          <p:spPr>
            <a:xfrm>
              <a:off x="4898012" y="1098686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91" name="Shape 1559"/>
            <p:cNvSpPr/>
            <p:nvPr/>
          </p:nvSpPr>
          <p:spPr>
            <a:xfrm>
              <a:off x="5678066" y="3336392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92" name="Shape 1560"/>
            <p:cNvSpPr/>
            <p:nvPr/>
          </p:nvSpPr>
          <p:spPr>
            <a:xfrm>
              <a:off x="7951368" y="1620272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93" name="Shape 1561"/>
            <p:cNvSpPr/>
            <p:nvPr/>
          </p:nvSpPr>
          <p:spPr>
            <a:xfrm>
              <a:off x="8720277" y="3436685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cxnSp>
          <p:nvCxnSpPr>
            <p:cNvPr id="94" name="Gerader Verbinder 93"/>
            <p:cNvCxnSpPr/>
            <p:nvPr/>
          </p:nvCxnSpPr>
          <p:spPr>
            <a:xfrm>
              <a:off x="2309786" y="1740682"/>
              <a:ext cx="1473861" cy="1216827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/>
          </p:nvCxnSpPr>
          <p:spPr>
            <a:xfrm flipV="1">
              <a:off x="2419048" y="1257274"/>
              <a:ext cx="2342062" cy="292100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r Verbinder 95"/>
            <p:cNvCxnSpPr/>
            <p:nvPr/>
          </p:nvCxnSpPr>
          <p:spPr>
            <a:xfrm>
              <a:off x="4083076" y="3110833"/>
              <a:ext cx="1490790" cy="325852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r Verbinder 96"/>
            <p:cNvCxnSpPr/>
            <p:nvPr/>
          </p:nvCxnSpPr>
          <p:spPr>
            <a:xfrm>
              <a:off x="5194986" y="1234027"/>
              <a:ext cx="2657065" cy="506655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r Verbinder 97"/>
            <p:cNvCxnSpPr/>
            <p:nvPr/>
          </p:nvCxnSpPr>
          <p:spPr>
            <a:xfrm>
              <a:off x="6021272" y="3482059"/>
              <a:ext cx="2598058" cy="109812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r Verbinder 98"/>
            <p:cNvCxnSpPr/>
            <p:nvPr/>
          </p:nvCxnSpPr>
          <p:spPr>
            <a:xfrm>
              <a:off x="8193627" y="1912427"/>
              <a:ext cx="647779" cy="1469352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r Verbinder 99"/>
            <p:cNvCxnSpPr/>
            <p:nvPr/>
          </p:nvCxnSpPr>
          <p:spPr>
            <a:xfrm flipV="1">
              <a:off x="4018853" y="1419687"/>
              <a:ext cx="940195" cy="1528707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r Verbinder 100"/>
            <p:cNvCxnSpPr/>
            <p:nvPr/>
          </p:nvCxnSpPr>
          <p:spPr>
            <a:xfrm flipH="1" flipV="1">
              <a:off x="5095669" y="1419681"/>
              <a:ext cx="639306" cy="1854079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r Verbinder 101"/>
            <p:cNvCxnSpPr/>
            <p:nvPr/>
          </p:nvCxnSpPr>
          <p:spPr>
            <a:xfrm flipV="1">
              <a:off x="5971641" y="1941268"/>
              <a:ext cx="1984610" cy="1407664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8221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uppieren 64"/>
          <p:cNvGrpSpPr/>
          <p:nvPr/>
        </p:nvGrpSpPr>
        <p:grpSpPr>
          <a:xfrm>
            <a:off x="2103527" y="694797"/>
            <a:ext cx="7493977" cy="3569966"/>
            <a:chOff x="1332322" y="212607"/>
            <a:chExt cx="8717944" cy="4153036"/>
          </a:xfrm>
        </p:grpSpPr>
        <p:sp>
          <p:nvSpPr>
            <p:cNvPr id="66" name="Shape 1553"/>
            <p:cNvSpPr/>
            <p:nvPr/>
          </p:nvSpPr>
          <p:spPr>
            <a:xfrm>
              <a:off x="1332322" y="212607"/>
              <a:ext cx="8717944" cy="4153036"/>
            </a:xfrm>
            <a:custGeom>
              <a:avLst/>
              <a:gdLst/>
              <a:ahLst/>
              <a:cxnLst/>
              <a:rect l="0" t="0" r="0" b="0"/>
              <a:pathLst>
                <a:path w="285750" h="136125" extrusionOk="0">
                  <a:moveTo>
                    <a:pt x="74830" y="1313"/>
                  </a:moveTo>
                  <a:lnTo>
                    <a:pt x="74352" y="1330"/>
                  </a:lnTo>
                  <a:lnTo>
                    <a:pt x="74864" y="1330"/>
                  </a:lnTo>
                  <a:lnTo>
                    <a:pt x="74830" y="1313"/>
                  </a:lnTo>
                  <a:close/>
                  <a:moveTo>
                    <a:pt x="77830" y="1739"/>
                  </a:moveTo>
                  <a:lnTo>
                    <a:pt x="77830" y="1739"/>
                  </a:lnTo>
                  <a:lnTo>
                    <a:pt x="77830" y="1739"/>
                  </a:lnTo>
                  <a:close/>
                  <a:moveTo>
                    <a:pt x="176011" y="1432"/>
                  </a:moveTo>
                  <a:lnTo>
                    <a:pt x="176114" y="1636"/>
                  </a:lnTo>
                  <a:lnTo>
                    <a:pt x="175500" y="1841"/>
                  </a:lnTo>
                  <a:lnTo>
                    <a:pt x="175807" y="1943"/>
                  </a:lnTo>
                  <a:lnTo>
                    <a:pt x="178875" y="1943"/>
                  </a:lnTo>
                  <a:lnTo>
                    <a:pt x="178773" y="1636"/>
                  </a:lnTo>
                  <a:lnTo>
                    <a:pt x="176011" y="1432"/>
                  </a:lnTo>
                  <a:close/>
                  <a:moveTo>
                    <a:pt x="135102" y="1841"/>
                  </a:moveTo>
                  <a:lnTo>
                    <a:pt x="134898" y="1943"/>
                  </a:lnTo>
                  <a:lnTo>
                    <a:pt x="135102" y="2045"/>
                  </a:lnTo>
                  <a:lnTo>
                    <a:pt x="134489" y="2045"/>
                  </a:lnTo>
                  <a:lnTo>
                    <a:pt x="134795" y="2148"/>
                  </a:lnTo>
                  <a:lnTo>
                    <a:pt x="134489" y="2148"/>
                  </a:lnTo>
                  <a:lnTo>
                    <a:pt x="135920" y="2352"/>
                  </a:lnTo>
                  <a:lnTo>
                    <a:pt x="135307" y="2455"/>
                  </a:lnTo>
                  <a:lnTo>
                    <a:pt x="137148" y="2557"/>
                  </a:lnTo>
                  <a:lnTo>
                    <a:pt x="137148" y="2659"/>
                  </a:lnTo>
                  <a:lnTo>
                    <a:pt x="139500" y="2148"/>
                  </a:lnTo>
                  <a:lnTo>
                    <a:pt x="137148" y="2045"/>
                  </a:lnTo>
                  <a:lnTo>
                    <a:pt x="137250" y="1841"/>
                  </a:lnTo>
                  <a:lnTo>
                    <a:pt x="136739" y="1841"/>
                  </a:lnTo>
                  <a:lnTo>
                    <a:pt x="136739" y="2045"/>
                  </a:lnTo>
                  <a:lnTo>
                    <a:pt x="135102" y="1841"/>
                  </a:lnTo>
                  <a:close/>
                  <a:moveTo>
                    <a:pt x="178466" y="2045"/>
                  </a:moveTo>
                  <a:lnTo>
                    <a:pt x="177443" y="2148"/>
                  </a:lnTo>
                  <a:lnTo>
                    <a:pt x="177136" y="2455"/>
                  </a:lnTo>
                  <a:lnTo>
                    <a:pt x="181534" y="2864"/>
                  </a:lnTo>
                  <a:lnTo>
                    <a:pt x="181534" y="2864"/>
                  </a:lnTo>
                  <a:lnTo>
                    <a:pt x="180716" y="2659"/>
                  </a:lnTo>
                  <a:lnTo>
                    <a:pt x="181023" y="2659"/>
                  </a:lnTo>
                  <a:lnTo>
                    <a:pt x="180818" y="2250"/>
                  </a:lnTo>
                  <a:lnTo>
                    <a:pt x="178466" y="2045"/>
                  </a:lnTo>
                  <a:close/>
                  <a:moveTo>
                    <a:pt x="75068" y="3170"/>
                  </a:moveTo>
                  <a:lnTo>
                    <a:pt x="74870" y="3225"/>
                  </a:lnTo>
                  <a:lnTo>
                    <a:pt x="75022" y="3201"/>
                  </a:lnTo>
                  <a:lnTo>
                    <a:pt x="75022" y="3201"/>
                  </a:lnTo>
                  <a:lnTo>
                    <a:pt x="75068" y="3170"/>
                  </a:lnTo>
                  <a:close/>
                  <a:moveTo>
                    <a:pt x="72920" y="1227"/>
                  </a:moveTo>
                  <a:lnTo>
                    <a:pt x="72102" y="1330"/>
                  </a:lnTo>
                  <a:lnTo>
                    <a:pt x="72511" y="1330"/>
                  </a:lnTo>
                  <a:lnTo>
                    <a:pt x="70977" y="1534"/>
                  </a:lnTo>
                  <a:lnTo>
                    <a:pt x="71591" y="1739"/>
                  </a:lnTo>
                  <a:lnTo>
                    <a:pt x="70364" y="1739"/>
                  </a:lnTo>
                  <a:lnTo>
                    <a:pt x="70568" y="1841"/>
                  </a:lnTo>
                  <a:lnTo>
                    <a:pt x="70057" y="1943"/>
                  </a:lnTo>
                  <a:lnTo>
                    <a:pt x="71080" y="2045"/>
                  </a:lnTo>
                  <a:lnTo>
                    <a:pt x="69648" y="2045"/>
                  </a:lnTo>
                  <a:lnTo>
                    <a:pt x="69750" y="2352"/>
                  </a:lnTo>
                  <a:lnTo>
                    <a:pt x="70670" y="2352"/>
                  </a:lnTo>
                  <a:lnTo>
                    <a:pt x="69545" y="2557"/>
                  </a:lnTo>
                  <a:lnTo>
                    <a:pt x="70568" y="2557"/>
                  </a:lnTo>
                  <a:lnTo>
                    <a:pt x="70466" y="2659"/>
                  </a:lnTo>
                  <a:lnTo>
                    <a:pt x="72102" y="2557"/>
                  </a:lnTo>
                  <a:lnTo>
                    <a:pt x="70773" y="2761"/>
                  </a:lnTo>
                  <a:lnTo>
                    <a:pt x="70466" y="2966"/>
                  </a:lnTo>
                  <a:lnTo>
                    <a:pt x="70159" y="3068"/>
                  </a:lnTo>
                  <a:lnTo>
                    <a:pt x="70977" y="3170"/>
                  </a:lnTo>
                  <a:lnTo>
                    <a:pt x="70364" y="3273"/>
                  </a:lnTo>
                  <a:lnTo>
                    <a:pt x="72102" y="3477"/>
                  </a:lnTo>
                  <a:lnTo>
                    <a:pt x="72102" y="3170"/>
                  </a:lnTo>
                  <a:lnTo>
                    <a:pt x="72307" y="3273"/>
                  </a:lnTo>
                  <a:lnTo>
                    <a:pt x="73330" y="3170"/>
                  </a:lnTo>
                  <a:lnTo>
                    <a:pt x="73227" y="3068"/>
                  </a:lnTo>
                  <a:lnTo>
                    <a:pt x="73739" y="2864"/>
                  </a:lnTo>
                  <a:lnTo>
                    <a:pt x="73432" y="3068"/>
                  </a:lnTo>
                  <a:lnTo>
                    <a:pt x="75580" y="2557"/>
                  </a:lnTo>
                  <a:lnTo>
                    <a:pt x="74557" y="2455"/>
                  </a:lnTo>
                  <a:lnTo>
                    <a:pt x="74659" y="2045"/>
                  </a:lnTo>
                  <a:lnTo>
                    <a:pt x="74966" y="1841"/>
                  </a:lnTo>
                  <a:lnTo>
                    <a:pt x="74352" y="1943"/>
                  </a:lnTo>
                  <a:lnTo>
                    <a:pt x="74455" y="2045"/>
                  </a:lnTo>
                  <a:lnTo>
                    <a:pt x="73534" y="1739"/>
                  </a:lnTo>
                  <a:lnTo>
                    <a:pt x="73534" y="1636"/>
                  </a:lnTo>
                  <a:lnTo>
                    <a:pt x="72920" y="1227"/>
                  </a:lnTo>
                  <a:close/>
                  <a:moveTo>
                    <a:pt x="74870" y="3225"/>
                  </a:moveTo>
                  <a:lnTo>
                    <a:pt x="73227" y="3477"/>
                  </a:lnTo>
                  <a:lnTo>
                    <a:pt x="74301" y="3380"/>
                  </a:lnTo>
                  <a:lnTo>
                    <a:pt x="74301" y="3380"/>
                  </a:lnTo>
                  <a:lnTo>
                    <a:pt x="74870" y="3225"/>
                  </a:lnTo>
                  <a:close/>
                  <a:moveTo>
                    <a:pt x="74352" y="3375"/>
                  </a:moveTo>
                  <a:lnTo>
                    <a:pt x="74301" y="3380"/>
                  </a:lnTo>
                  <a:lnTo>
                    <a:pt x="74301" y="3380"/>
                  </a:lnTo>
                  <a:lnTo>
                    <a:pt x="73943" y="3477"/>
                  </a:lnTo>
                  <a:lnTo>
                    <a:pt x="74352" y="3375"/>
                  </a:lnTo>
                  <a:close/>
                  <a:moveTo>
                    <a:pt x="182148" y="2557"/>
                  </a:moveTo>
                  <a:lnTo>
                    <a:pt x="182250" y="2966"/>
                  </a:lnTo>
                  <a:lnTo>
                    <a:pt x="182148" y="3170"/>
                  </a:lnTo>
                  <a:lnTo>
                    <a:pt x="182045" y="3580"/>
                  </a:lnTo>
                  <a:lnTo>
                    <a:pt x="185114" y="3170"/>
                  </a:lnTo>
                  <a:lnTo>
                    <a:pt x="183682" y="2761"/>
                  </a:lnTo>
                  <a:lnTo>
                    <a:pt x="183170" y="2864"/>
                  </a:lnTo>
                  <a:lnTo>
                    <a:pt x="182966" y="2761"/>
                  </a:lnTo>
                  <a:lnTo>
                    <a:pt x="183068" y="2659"/>
                  </a:lnTo>
                  <a:lnTo>
                    <a:pt x="182455" y="2557"/>
                  </a:lnTo>
                  <a:lnTo>
                    <a:pt x="182455" y="2557"/>
                  </a:lnTo>
                  <a:lnTo>
                    <a:pt x="182557" y="2659"/>
                  </a:lnTo>
                  <a:lnTo>
                    <a:pt x="182148" y="2557"/>
                  </a:lnTo>
                  <a:close/>
                  <a:moveTo>
                    <a:pt x="64739" y="2557"/>
                  </a:moveTo>
                  <a:lnTo>
                    <a:pt x="63614" y="2864"/>
                  </a:lnTo>
                  <a:lnTo>
                    <a:pt x="64023" y="2864"/>
                  </a:lnTo>
                  <a:lnTo>
                    <a:pt x="63716" y="2966"/>
                  </a:lnTo>
                  <a:lnTo>
                    <a:pt x="63716" y="2966"/>
                  </a:lnTo>
                  <a:lnTo>
                    <a:pt x="64432" y="2864"/>
                  </a:lnTo>
                  <a:lnTo>
                    <a:pt x="64125" y="2966"/>
                  </a:lnTo>
                  <a:lnTo>
                    <a:pt x="64534" y="3068"/>
                  </a:lnTo>
                  <a:lnTo>
                    <a:pt x="64125" y="3068"/>
                  </a:lnTo>
                  <a:lnTo>
                    <a:pt x="64330" y="3170"/>
                  </a:lnTo>
                  <a:lnTo>
                    <a:pt x="63511" y="3375"/>
                  </a:lnTo>
                  <a:lnTo>
                    <a:pt x="65352" y="3477"/>
                  </a:lnTo>
                  <a:lnTo>
                    <a:pt x="65352" y="3580"/>
                  </a:lnTo>
                  <a:lnTo>
                    <a:pt x="66068" y="3682"/>
                  </a:lnTo>
                  <a:lnTo>
                    <a:pt x="66273" y="3375"/>
                  </a:lnTo>
                  <a:lnTo>
                    <a:pt x="66580" y="3170"/>
                  </a:lnTo>
                  <a:lnTo>
                    <a:pt x="65966" y="2966"/>
                  </a:lnTo>
                  <a:lnTo>
                    <a:pt x="66068" y="2864"/>
                  </a:lnTo>
                  <a:lnTo>
                    <a:pt x="65148" y="2966"/>
                  </a:lnTo>
                  <a:lnTo>
                    <a:pt x="65148" y="2864"/>
                  </a:lnTo>
                  <a:lnTo>
                    <a:pt x="64739" y="2557"/>
                  </a:lnTo>
                  <a:close/>
                  <a:moveTo>
                    <a:pt x="67705" y="2966"/>
                  </a:moveTo>
                  <a:lnTo>
                    <a:pt x="67295" y="3273"/>
                  </a:lnTo>
                  <a:lnTo>
                    <a:pt x="67705" y="3477"/>
                  </a:lnTo>
                  <a:lnTo>
                    <a:pt x="67398" y="3682"/>
                  </a:lnTo>
                  <a:lnTo>
                    <a:pt x="69136" y="3273"/>
                  </a:lnTo>
                  <a:lnTo>
                    <a:pt x="67705" y="2966"/>
                  </a:lnTo>
                  <a:close/>
                  <a:moveTo>
                    <a:pt x="136943" y="3170"/>
                  </a:moveTo>
                  <a:lnTo>
                    <a:pt x="135818" y="3273"/>
                  </a:lnTo>
                  <a:lnTo>
                    <a:pt x="136841" y="3682"/>
                  </a:lnTo>
                  <a:lnTo>
                    <a:pt x="136432" y="3886"/>
                  </a:lnTo>
                  <a:lnTo>
                    <a:pt x="137557" y="3886"/>
                  </a:lnTo>
                  <a:lnTo>
                    <a:pt x="137352" y="3989"/>
                  </a:lnTo>
                  <a:lnTo>
                    <a:pt x="137761" y="4091"/>
                  </a:lnTo>
                  <a:lnTo>
                    <a:pt x="138784" y="3784"/>
                  </a:lnTo>
                  <a:lnTo>
                    <a:pt x="137659" y="3477"/>
                  </a:lnTo>
                  <a:lnTo>
                    <a:pt x="137761" y="3477"/>
                  </a:lnTo>
                  <a:lnTo>
                    <a:pt x="137148" y="3375"/>
                  </a:lnTo>
                  <a:lnTo>
                    <a:pt x="136943" y="3170"/>
                  </a:lnTo>
                  <a:close/>
                  <a:moveTo>
                    <a:pt x="131114" y="2250"/>
                  </a:moveTo>
                  <a:lnTo>
                    <a:pt x="131114" y="2352"/>
                  </a:lnTo>
                  <a:lnTo>
                    <a:pt x="130295" y="2352"/>
                  </a:lnTo>
                  <a:lnTo>
                    <a:pt x="131318" y="2864"/>
                  </a:lnTo>
                  <a:lnTo>
                    <a:pt x="130705" y="2864"/>
                  </a:lnTo>
                  <a:lnTo>
                    <a:pt x="131625" y="3375"/>
                  </a:lnTo>
                  <a:lnTo>
                    <a:pt x="132648" y="3273"/>
                  </a:lnTo>
                  <a:lnTo>
                    <a:pt x="132545" y="3170"/>
                  </a:lnTo>
                  <a:lnTo>
                    <a:pt x="132545" y="3068"/>
                  </a:lnTo>
                  <a:lnTo>
                    <a:pt x="132955" y="3068"/>
                  </a:lnTo>
                  <a:lnTo>
                    <a:pt x="133261" y="3273"/>
                  </a:lnTo>
                  <a:lnTo>
                    <a:pt x="133875" y="3068"/>
                  </a:lnTo>
                  <a:lnTo>
                    <a:pt x="133670" y="3170"/>
                  </a:lnTo>
                  <a:lnTo>
                    <a:pt x="134080" y="3273"/>
                  </a:lnTo>
                  <a:lnTo>
                    <a:pt x="132443" y="3580"/>
                  </a:lnTo>
                  <a:lnTo>
                    <a:pt x="132750" y="3784"/>
                  </a:lnTo>
                  <a:lnTo>
                    <a:pt x="134080" y="3784"/>
                  </a:lnTo>
                  <a:lnTo>
                    <a:pt x="132545" y="4091"/>
                  </a:lnTo>
                  <a:lnTo>
                    <a:pt x="134284" y="4602"/>
                  </a:lnTo>
                  <a:lnTo>
                    <a:pt x="134386" y="4398"/>
                  </a:lnTo>
                  <a:lnTo>
                    <a:pt x="134284" y="4295"/>
                  </a:lnTo>
                  <a:lnTo>
                    <a:pt x="134898" y="3886"/>
                  </a:lnTo>
                  <a:lnTo>
                    <a:pt x="134898" y="3580"/>
                  </a:lnTo>
                  <a:lnTo>
                    <a:pt x="135205" y="3477"/>
                  </a:lnTo>
                  <a:lnTo>
                    <a:pt x="135511" y="3170"/>
                  </a:lnTo>
                  <a:lnTo>
                    <a:pt x="136432" y="3068"/>
                  </a:lnTo>
                  <a:lnTo>
                    <a:pt x="135920" y="2864"/>
                  </a:lnTo>
                  <a:lnTo>
                    <a:pt x="136023" y="2761"/>
                  </a:lnTo>
                  <a:lnTo>
                    <a:pt x="134795" y="2659"/>
                  </a:lnTo>
                  <a:lnTo>
                    <a:pt x="134795" y="2455"/>
                  </a:lnTo>
                  <a:lnTo>
                    <a:pt x="134182" y="2557"/>
                  </a:lnTo>
                  <a:lnTo>
                    <a:pt x="134386" y="2352"/>
                  </a:lnTo>
                  <a:lnTo>
                    <a:pt x="133261" y="2250"/>
                  </a:lnTo>
                  <a:lnTo>
                    <a:pt x="133261" y="2250"/>
                  </a:lnTo>
                  <a:lnTo>
                    <a:pt x="133568" y="2864"/>
                  </a:lnTo>
                  <a:lnTo>
                    <a:pt x="133568" y="2864"/>
                  </a:lnTo>
                  <a:lnTo>
                    <a:pt x="132750" y="2455"/>
                  </a:lnTo>
                  <a:lnTo>
                    <a:pt x="131318" y="2455"/>
                  </a:lnTo>
                  <a:lnTo>
                    <a:pt x="131932" y="2250"/>
                  </a:lnTo>
                  <a:close/>
                  <a:moveTo>
                    <a:pt x="66682" y="4398"/>
                  </a:moveTo>
                  <a:lnTo>
                    <a:pt x="66784" y="4500"/>
                  </a:lnTo>
                  <a:lnTo>
                    <a:pt x="66477" y="4500"/>
                  </a:lnTo>
                  <a:lnTo>
                    <a:pt x="67091" y="4705"/>
                  </a:lnTo>
                  <a:lnTo>
                    <a:pt x="66784" y="4705"/>
                  </a:lnTo>
                  <a:lnTo>
                    <a:pt x="68232" y="4795"/>
                  </a:lnTo>
                  <a:lnTo>
                    <a:pt x="68232" y="4795"/>
                  </a:lnTo>
                  <a:lnTo>
                    <a:pt x="68625" y="4500"/>
                  </a:lnTo>
                  <a:lnTo>
                    <a:pt x="66682" y="4398"/>
                  </a:lnTo>
                  <a:close/>
                  <a:moveTo>
                    <a:pt x="68232" y="4795"/>
                  </a:moveTo>
                  <a:lnTo>
                    <a:pt x="68216" y="4807"/>
                  </a:lnTo>
                  <a:lnTo>
                    <a:pt x="68324" y="4801"/>
                  </a:lnTo>
                  <a:lnTo>
                    <a:pt x="68324" y="4801"/>
                  </a:lnTo>
                  <a:lnTo>
                    <a:pt x="68232" y="4795"/>
                  </a:lnTo>
                  <a:close/>
                  <a:moveTo>
                    <a:pt x="71489" y="4500"/>
                  </a:moveTo>
                  <a:lnTo>
                    <a:pt x="70568" y="4705"/>
                  </a:lnTo>
                  <a:lnTo>
                    <a:pt x="71080" y="4807"/>
                  </a:lnTo>
                  <a:lnTo>
                    <a:pt x="71489" y="4500"/>
                  </a:lnTo>
                  <a:close/>
                  <a:moveTo>
                    <a:pt x="81102" y="205"/>
                  </a:moveTo>
                  <a:lnTo>
                    <a:pt x="81614" y="409"/>
                  </a:lnTo>
                  <a:lnTo>
                    <a:pt x="80386" y="307"/>
                  </a:lnTo>
                  <a:lnTo>
                    <a:pt x="80489" y="409"/>
                  </a:lnTo>
                  <a:lnTo>
                    <a:pt x="79773" y="409"/>
                  </a:lnTo>
                  <a:lnTo>
                    <a:pt x="79977" y="511"/>
                  </a:lnTo>
                  <a:lnTo>
                    <a:pt x="79466" y="511"/>
                  </a:lnTo>
                  <a:lnTo>
                    <a:pt x="80693" y="920"/>
                  </a:lnTo>
                  <a:lnTo>
                    <a:pt x="80693" y="920"/>
                  </a:lnTo>
                  <a:lnTo>
                    <a:pt x="79159" y="716"/>
                  </a:lnTo>
                  <a:lnTo>
                    <a:pt x="77011" y="716"/>
                  </a:lnTo>
                  <a:lnTo>
                    <a:pt x="77727" y="818"/>
                  </a:lnTo>
                  <a:lnTo>
                    <a:pt x="73841" y="1023"/>
                  </a:lnTo>
                  <a:lnTo>
                    <a:pt x="73943" y="1125"/>
                  </a:lnTo>
                  <a:lnTo>
                    <a:pt x="74864" y="1023"/>
                  </a:lnTo>
                  <a:lnTo>
                    <a:pt x="74864" y="1023"/>
                  </a:lnTo>
                  <a:lnTo>
                    <a:pt x="74250" y="1125"/>
                  </a:lnTo>
                  <a:lnTo>
                    <a:pt x="75989" y="1125"/>
                  </a:lnTo>
                  <a:lnTo>
                    <a:pt x="74659" y="1227"/>
                  </a:lnTo>
                  <a:lnTo>
                    <a:pt x="74830" y="1313"/>
                  </a:lnTo>
                  <a:lnTo>
                    <a:pt x="74830" y="1313"/>
                  </a:lnTo>
                  <a:lnTo>
                    <a:pt x="77216" y="1227"/>
                  </a:lnTo>
                  <a:lnTo>
                    <a:pt x="74557" y="1534"/>
                  </a:lnTo>
                  <a:lnTo>
                    <a:pt x="74557" y="1534"/>
                  </a:lnTo>
                  <a:lnTo>
                    <a:pt x="78034" y="1330"/>
                  </a:lnTo>
                  <a:lnTo>
                    <a:pt x="75784" y="1739"/>
                  </a:lnTo>
                  <a:lnTo>
                    <a:pt x="75784" y="1739"/>
                  </a:lnTo>
                  <a:lnTo>
                    <a:pt x="78341" y="1636"/>
                  </a:lnTo>
                  <a:lnTo>
                    <a:pt x="78341" y="1636"/>
                  </a:lnTo>
                  <a:lnTo>
                    <a:pt x="77830" y="1739"/>
                  </a:lnTo>
                  <a:lnTo>
                    <a:pt x="81818" y="1125"/>
                  </a:lnTo>
                  <a:lnTo>
                    <a:pt x="81818" y="1125"/>
                  </a:lnTo>
                  <a:lnTo>
                    <a:pt x="80386" y="1534"/>
                  </a:lnTo>
                  <a:lnTo>
                    <a:pt x="81409" y="1534"/>
                  </a:lnTo>
                  <a:lnTo>
                    <a:pt x="77523" y="1943"/>
                  </a:lnTo>
                  <a:lnTo>
                    <a:pt x="78648" y="2352"/>
                  </a:lnTo>
                  <a:lnTo>
                    <a:pt x="78648" y="2352"/>
                  </a:lnTo>
                  <a:lnTo>
                    <a:pt x="75375" y="2045"/>
                  </a:lnTo>
                  <a:lnTo>
                    <a:pt x="75375" y="2352"/>
                  </a:lnTo>
                  <a:lnTo>
                    <a:pt x="76193" y="2761"/>
                  </a:lnTo>
                  <a:lnTo>
                    <a:pt x="75682" y="2761"/>
                  </a:lnTo>
                  <a:lnTo>
                    <a:pt x="77216" y="2864"/>
                  </a:lnTo>
                  <a:lnTo>
                    <a:pt x="75022" y="3201"/>
                  </a:lnTo>
                  <a:lnTo>
                    <a:pt x="75022" y="3201"/>
                  </a:lnTo>
                  <a:lnTo>
                    <a:pt x="74761" y="3375"/>
                  </a:lnTo>
                  <a:lnTo>
                    <a:pt x="75170" y="3477"/>
                  </a:lnTo>
                  <a:lnTo>
                    <a:pt x="74148" y="3682"/>
                  </a:lnTo>
                  <a:lnTo>
                    <a:pt x="74045" y="3886"/>
                  </a:lnTo>
                  <a:lnTo>
                    <a:pt x="75989" y="3580"/>
                  </a:lnTo>
                  <a:lnTo>
                    <a:pt x="73739" y="3989"/>
                  </a:lnTo>
                  <a:lnTo>
                    <a:pt x="73432" y="3682"/>
                  </a:lnTo>
                  <a:lnTo>
                    <a:pt x="72716" y="3682"/>
                  </a:lnTo>
                  <a:lnTo>
                    <a:pt x="72818" y="4193"/>
                  </a:lnTo>
                  <a:lnTo>
                    <a:pt x="71489" y="4500"/>
                  </a:lnTo>
                  <a:lnTo>
                    <a:pt x="71489" y="4500"/>
                  </a:lnTo>
                  <a:lnTo>
                    <a:pt x="71489" y="4500"/>
                  </a:lnTo>
                  <a:lnTo>
                    <a:pt x="71284" y="4807"/>
                  </a:lnTo>
                  <a:lnTo>
                    <a:pt x="71898" y="4705"/>
                  </a:lnTo>
                  <a:lnTo>
                    <a:pt x="71898" y="4807"/>
                  </a:lnTo>
                  <a:lnTo>
                    <a:pt x="75784" y="4807"/>
                  </a:lnTo>
                  <a:lnTo>
                    <a:pt x="75477" y="5011"/>
                  </a:lnTo>
                  <a:lnTo>
                    <a:pt x="75477" y="5011"/>
                  </a:lnTo>
                  <a:lnTo>
                    <a:pt x="77318" y="4705"/>
                  </a:lnTo>
                  <a:lnTo>
                    <a:pt x="77727" y="4398"/>
                  </a:lnTo>
                  <a:lnTo>
                    <a:pt x="77114" y="4398"/>
                  </a:lnTo>
                  <a:lnTo>
                    <a:pt x="77216" y="4193"/>
                  </a:lnTo>
                  <a:lnTo>
                    <a:pt x="75682" y="4091"/>
                  </a:lnTo>
                  <a:lnTo>
                    <a:pt x="76193" y="4091"/>
                  </a:lnTo>
                  <a:lnTo>
                    <a:pt x="76091" y="3989"/>
                  </a:lnTo>
                  <a:lnTo>
                    <a:pt x="78341" y="3886"/>
                  </a:lnTo>
                  <a:lnTo>
                    <a:pt x="78545" y="3580"/>
                  </a:lnTo>
                  <a:lnTo>
                    <a:pt x="80489" y="3375"/>
                  </a:lnTo>
                  <a:lnTo>
                    <a:pt x="79977" y="3170"/>
                  </a:lnTo>
                  <a:lnTo>
                    <a:pt x="81205" y="3068"/>
                  </a:lnTo>
                  <a:lnTo>
                    <a:pt x="79159" y="2761"/>
                  </a:lnTo>
                  <a:lnTo>
                    <a:pt x="81614" y="2659"/>
                  </a:lnTo>
                  <a:lnTo>
                    <a:pt x="80386" y="2455"/>
                  </a:lnTo>
                  <a:lnTo>
                    <a:pt x="82534" y="2352"/>
                  </a:lnTo>
                  <a:lnTo>
                    <a:pt x="81920" y="2250"/>
                  </a:lnTo>
                  <a:lnTo>
                    <a:pt x="83966" y="2250"/>
                  </a:lnTo>
                  <a:lnTo>
                    <a:pt x="83864" y="2148"/>
                  </a:lnTo>
                  <a:lnTo>
                    <a:pt x="84375" y="2045"/>
                  </a:lnTo>
                  <a:lnTo>
                    <a:pt x="83557" y="2045"/>
                  </a:lnTo>
                  <a:lnTo>
                    <a:pt x="84682" y="1943"/>
                  </a:lnTo>
                  <a:lnTo>
                    <a:pt x="84580" y="1739"/>
                  </a:lnTo>
                  <a:lnTo>
                    <a:pt x="88466" y="1125"/>
                  </a:lnTo>
                  <a:lnTo>
                    <a:pt x="86216" y="1330"/>
                  </a:lnTo>
                  <a:lnTo>
                    <a:pt x="90920" y="614"/>
                  </a:lnTo>
                  <a:lnTo>
                    <a:pt x="89898" y="511"/>
                  </a:lnTo>
                  <a:lnTo>
                    <a:pt x="90000" y="409"/>
                  </a:lnTo>
                  <a:lnTo>
                    <a:pt x="89795" y="409"/>
                  </a:lnTo>
                  <a:lnTo>
                    <a:pt x="89898" y="307"/>
                  </a:lnTo>
                  <a:lnTo>
                    <a:pt x="89898" y="307"/>
                  </a:lnTo>
                  <a:lnTo>
                    <a:pt x="87136" y="409"/>
                  </a:lnTo>
                  <a:lnTo>
                    <a:pt x="88466" y="205"/>
                  </a:lnTo>
                  <a:lnTo>
                    <a:pt x="84682" y="205"/>
                  </a:lnTo>
                  <a:lnTo>
                    <a:pt x="84989" y="409"/>
                  </a:lnTo>
                  <a:lnTo>
                    <a:pt x="82739" y="205"/>
                  </a:lnTo>
                  <a:lnTo>
                    <a:pt x="83352" y="409"/>
                  </a:lnTo>
                  <a:lnTo>
                    <a:pt x="83352" y="409"/>
                  </a:lnTo>
                  <a:lnTo>
                    <a:pt x="81102" y="205"/>
                  </a:lnTo>
                  <a:close/>
                  <a:moveTo>
                    <a:pt x="62898" y="4909"/>
                  </a:moveTo>
                  <a:lnTo>
                    <a:pt x="63205" y="5011"/>
                  </a:lnTo>
                  <a:lnTo>
                    <a:pt x="63205" y="4909"/>
                  </a:lnTo>
                  <a:close/>
                  <a:moveTo>
                    <a:pt x="55227" y="3989"/>
                  </a:moveTo>
                  <a:lnTo>
                    <a:pt x="55330" y="4091"/>
                  </a:lnTo>
                  <a:lnTo>
                    <a:pt x="50318" y="5011"/>
                  </a:lnTo>
                  <a:lnTo>
                    <a:pt x="50523" y="5011"/>
                  </a:lnTo>
                  <a:lnTo>
                    <a:pt x="50318" y="5216"/>
                  </a:lnTo>
                  <a:lnTo>
                    <a:pt x="50318" y="5216"/>
                  </a:lnTo>
                  <a:lnTo>
                    <a:pt x="51545" y="5011"/>
                  </a:lnTo>
                  <a:lnTo>
                    <a:pt x="51443" y="5318"/>
                  </a:lnTo>
                  <a:lnTo>
                    <a:pt x="54102" y="4500"/>
                  </a:lnTo>
                  <a:lnTo>
                    <a:pt x="53591" y="4909"/>
                  </a:lnTo>
                  <a:lnTo>
                    <a:pt x="53591" y="4909"/>
                  </a:lnTo>
                  <a:lnTo>
                    <a:pt x="56045" y="4091"/>
                  </a:lnTo>
                  <a:lnTo>
                    <a:pt x="55227" y="3989"/>
                  </a:lnTo>
                  <a:close/>
                  <a:moveTo>
                    <a:pt x="65761" y="4705"/>
                  </a:moveTo>
                  <a:lnTo>
                    <a:pt x="63818" y="4807"/>
                  </a:lnTo>
                  <a:lnTo>
                    <a:pt x="64227" y="4909"/>
                  </a:lnTo>
                  <a:lnTo>
                    <a:pt x="63920" y="4909"/>
                  </a:lnTo>
                  <a:lnTo>
                    <a:pt x="64330" y="5011"/>
                  </a:lnTo>
                  <a:lnTo>
                    <a:pt x="64023" y="5216"/>
                  </a:lnTo>
                  <a:lnTo>
                    <a:pt x="63205" y="5011"/>
                  </a:lnTo>
                  <a:lnTo>
                    <a:pt x="62898" y="5114"/>
                  </a:lnTo>
                  <a:lnTo>
                    <a:pt x="63000" y="5114"/>
                  </a:lnTo>
                  <a:lnTo>
                    <a:pt x="63102" y="5318"/>
                  </a:lnTo>
                  <a:lnTo>
                    <a:pt x="63102" y="5318"/>
                  </a:lnTo>
                  <a:lnTo>
                    <a:pt x="62489" y="5216"/>
                  </a:lnTo>
                  <a:lnTo>
                    <a:pt x="61875" y="5420"/>
                  </a:lnTo>
                  <a:lnTo>
                    <a:pt x="64125" y="5420"/>
                  </a:lnTo>
                  <a:lnTo>
                    <a:pt x="62898" y="5625"/>
                  </a:lnTo>
                  <a:lnTo>
                    <a:pt x="63102" y="5727"/>
                  </a:lnTo>
                  <a:lnTo>
                    <a:pt x="63000" y="5932"/>
                  </a:lnTo>
                  <a:lnTo>
                    <a:pt x="63000" y="5932"/>
                  </a:lnTo>
                  <a:lnTo>
                    <a:pt x="65148" y="5420"/>
                  </a:lnTo>
                  <a:lnTo>
                    <a:pt x="64943" y="5318"/>
                  </a:lnTo>
                  <a:lnTo>
                    <a:pt x="65761" y="4705"/>
                  </a:lnTo>
                  <a:close/>
                  <a:moveTo>
                    <a:pt x="209148" y="5011"/>
                  </a:moveTo>
                  <a:lnTo>
                    <a:pt x="209455" y="5420"/>
                  </a:lnTo>
                  <a:lnTo>
                    <a:pt x="207102" y="5216"/>
                  </a:lnTo>
                  <a:lnTo>
                    <a:pt x="207409" y="5318"/>
                  </a:lnTo>
                  <a:lnTo>
                    <a:pt x="207205" y="5318"/>
                  </a:lnTo>
                  <a:lnTo>
                    <a:pt x="207716" y="5625"/>
                  </a:lnTo>
                  <a:lnTo>
                    <a:pt x="207511" y="5625"/>
                  </a:lnTo>
                  <a:lnTo>
                    <a:pt x="211705" y="5932"/>
                  </a:lnTo>
                  <a:lnTo>
                    <a:pt x="210170" y="5420"/>
                  </a:lnTo>
                  <a:lnTo>
                    <a:pt x="210170" y="5420"/>
                  </a:lnTo>
                  <a:lnTo>
                    <a:pt x="212420" y="5727"/>
                  </a:lnTo>
                  <a:lnTo>
                    <a:pt x="212318" y="5523"/>
                  </a:lnTo>
                  <a:lnTo>
                    <a:pt x="209148" y="5011"/>
                  </a:lnTo>
                  <a:close/>
                  <a:moveTo>
                    <a:pt x="65148" y="5932"/>
                  </a:moveTo>
                  <a:lnTo>
                    <a:pt x="65966" y="6239"/>
                  </a:lnTo>
                  <a:lnTo>
                    <a:pt x="66989" y="5932"/>
                  </a:lnTo>
                  <a:close/>
                  <a:moveTo>
                    <a:pt x="59523" y="4500"/>
                  </a:moveTo>
                  <a:lnTo>
                    <a:pt x="58193" y="4807"/>
                  </a:lnTo>
                  <a:lnTo>
                    <a:pt x="58295" y="5011"/>
                  </a:lnTo>
                  <a:lnTo>
                    <a:pt x="57886" y="5216"/>
                  </a:lnTo>
                  <a:lnTo>
                    <a:pt x="58193" y="5420"/>
                  </a:lnTo>
                  <a:lnTo>
                    <a:pt x="56455" y="5216"/>
                  </a:lnTo>
                  <a:lnTo>
                    <a:pt x="56659" y="5216"/>
                  </a:lnTo>
                  <a:lnTo>
                    <a:pt x="55739" y="4909"/>
                  </a:lnTo>
                  <a:lnTo>
                    <a:pt x="55841" y="4807"/>
                  </a:lnTo>
                  <a:lnTo>
                    <a:pt x="54716" y="4909"/>
                  </a:lnTo>
                  <a:lnTo>
                    <a:pt x="55227" y="5011"/>
                  </a:lnTo>
                  <a:lnTo>
                    <a:pt x="53795" y="5216"/>
                  </a:lnTo>
                  <a:lnTo>
                    <a:pt x="54818" y="5216"/>
                  </a:lnTo>
                  <a:lnTo>
                    <a:pt x="53182" y="5420"/>
                  </a:lnTo>
                  <a:lnTo>
                    <a:pt x="54511" y="5318"/>
                  </a:lnTo>
                  <a:lnTo>
                    <a:pt x="52466" y="5727"/>
                  </a:lnTo>
                  <a:lnTo>
                    <a:pt x="53386" y="5932"/>
                  </a:lnTo>
                  <a:lnTo>
                    <a:pt x="53693" y="5830"/>
                  </a:lnTo>
                  <a:lnTo>
                    <a:pt x="53898" y="5932"/>
                  </a:lnTo>
                  <a:lnTo>
                    <a:pt x="54307" y="5830"/>
                  </a:lnTo>
                  <a:lnTo>
                    <a:pt x="54409" y="5727"/>
                  </a:lnTo>
                  <a:lnTo>
                    <a:pt x="55227" y="5625"/>
                  </a:lnTo>
                  <a:lnTo>
                    <a:pt x="54614" y="5830"/>
                  </a:lnTo>
                  <a:lnTo>
                    <a:pt x="56455" y="5727"/>
                  </a:lnTo>
                  <a:lnTo>
                    <a:pt x="56455" y="5727"/>
                  </a:lnTo>
                  <a:lnTo>
                    <a:pt x="54102" y="6136"/>
                  </a:lnTo>
                  <a:lnTo>
                    <a:pt x="54102" y="6341"/>
                  </a:lnTo>
                  <a:lnTo>
                    <a:pt x="57784" y="5932"/>
                  </a:lnTo>
                  <a:lnTo>
                    <a:pt x="57682" y="5932"/>
                  </a:lnTo>
                  <a:lnTo>
                    <a:pt x="59625" y="5727"/>
                  </a:lnTo>
                  <a:lnTo>
                    <a:pt x="60443" y="5114"/>
                  </a:lnTo>
                  <a:lnTo>
                    <a:pt x="58909" y="5318"/>
                  </a:lnTo>
                  <a:lnTo>
                    <a:pt x="59216" y="5114"/>
                  </a:lnTo>
                  <a:lnTo>
                    <a:pt x="58909" y="5114"/>
                  </a:lnTo>
                  <a:lnTo>
                    <a:pt x="59523" y="4500"/>
                  </a:lnTo>
                  <a:close/>
                  <a:moveTo>
                    <a:pt x="70057" y="4705"/>
                  </a:moveTo>
                  <a:lnTo>
                    <a:pt x="68324" y="4801"/>
                  </a:lnTo>
                  <a:lnTo>
                    <a:pt x="68324" y="4801"/>
                  </a:lnTo>
                  <a:lnTo>
                    <a:pt x="68420" y="4807"/>
                  </a:lnTo>
                  <a:lnTo>
                    <a:pt x="68420" y="5318"/>
                  </a:lnTo>
                  <a:lnTo>
                    <a:pt x="67909" y="5625"/>
                  </a:lnTo>
                  <a:lnTo>
                    <a:pt x="67807" y="5830"/>
                  </a:lnTo>
                  <a:lnTo>
                    <a:pt x="68420" y="6034"/>
                  </a:lnTo>
                  <a:lnTo>
                    <a:pt x="68318" y="6136"/>
                  </a:lnTo>
                  <a:lnTo>
                    <a:pt x="69955" y="6136"/>
                  </a:lnTo>
                  <a:lnTo>
                    <a:pt x="69648" y="6341"/>
                  </a:lnTo>
                  <a:lnTo>
                    <a:pt x="75580" y="6034"/>
                  </a:lnTo>
                  <a:lnTo>
                    <a:pt x="75068" y="5932"/>
                  </a:lnTo>
                  <a:lnTo>
                    <a:pt x="75580" y="5523"/>
                  </a:lnTo>
                  <a:lnTo>
                    <a:pt x="74966" y="5420"/>
                  </a:lnTo>
                  <a:lnTo>
                    <a:pt x="75068" y="5318"/>
                  </a:lnTo>
                  <a:lnTo>
                    <a:pt x="71898" y="5523"/>
                  </a:lnTo>
                  <a:lnTo>
                    <a:pt x="72000" y="5625"/>
                  </a:lnTo>
                  <a:lnTo>
                    <a:pt x="70261" y="5420"/>
                  </a:lnTo>
                  <a:lnTo>
                    <a:pt x="70159" y="5523"/>
                  </a:lnTo>
                  <a:lnTo>
                    <a:pt x="69750" y="5523"/>
                  </a:lnTo>
                  <a:lnTo>
                    <a:pt x="70261" y="5318"/>
                  </a:lnTo>
                  <a:lnTo>
                    <a:pt x="69239" y="4909"/>
                  </a:lnTo>
                  <a:lnTo>
                    <a:pt x="70568" y="4909"/>
                  </a:lnTo>
                  <a:lnTo>
                    <a:pt x="69443" y="4807"/>
                  </a:lnTo>
                  <a:lnTo>
                    <a:pt x="70057" y="4705"/>
                  </a:lnTo>
                  <a:close/>
                  <a:moveTo>
                    <a:pt x="165273" y="4705"/>
                  </a:moveTo>
                  <a:lnTo>
                    <a:pt x="160773" y="4909"/>
                  </a:lnTo>
                  <a:lnTo>
                    <a:pt x="160875" y="5011"/>
                  </a:lnTo>
                  <a:lnTo>
                    <a:pt x="160364" y="5114"/>
                  </a:lnTo>
                  <a:lnTo>
                    <a:pt x="159341" y="5420"/>
                  </a:lnTo>
                  <a:lnTo>
                    <a:pt x="158727" y="5625"/>
                  </a:lnTo>
                  <a:lnTo>
                    <a:pt x="158830" y="5727"/>
                  </a:lnTo>
                  <a:lnTo>
                    <a:pt x="158216" y="5830"/>
                  </a:lnTo>
                  <a:lnTo>
                    <a:pt x="158727" y="5932"/>
                  </a:lnTo>
                  <a:lnTo>
                    <a:pt x="158318" y="6239"/>
                  </a:lnTo>
                  <a:lnTo>
                    <a:pt x="158727" y="6341"/>
                  </a:lnTo>
                  <a:lnTo>
                    <a:pt x="158318" y="6443"/>
                  </a:lnTo>
                  <a:lnTo>
                    <a:pt x="158114" y="6648"/>
                  </a:lnTo>
                  <a:lnTo>
                    <a:pt x="157602" y="6955"/>
                  </a:lnTo>
                  <a:lnTo>
                    <a:pt x="158114" y="7261"/>
                  </a:lnTo>
                  <a:lnTo>
                    <a:pt x="160057" y="7057"/>
                  </a:lnTo>
                  <a:lnTo>
                    <a:pt x="159750" y="6852"/>
                  </a:lnTo>
                  <a:lnTo>
                    <a:pt x="160159" y="6341"/>
                  </a:lnTo>
                  <a:lnTo>
                    <a:pt x="160875" y="6239"/>
                  </a:lnTo>
                  <a:lnTo>
                    <a:pt x="160875" y="6136"/>
                  </a:lnTo>
                  <a:lnTo>
                    <a:pt x="161182" y="6034"/>
                  </a:lnTo>
                  <a:lnTo>
                    <a:pt x="160977" y="5932"/>
                  </a:lnTo>
                  <a:lnTo>
                    <a:pt x="165273" y="4705"/>
                  </a:lnTo>
                  <a:close/>
                  <a:moveTo>
                    <a:pt x="212114" y="6852"/>
                  </a:moveTo>
                  <a:lnTo>
                    <a:pt x="211500" y="7261"/>
                  </a:lnTo>
                  <a:lnTo>
                    <a:pt x="214057" y="7364"/>
                  </a:lnTo>
                  <a:lnTo>
                    <a:pt x="212114" y="6852"/>
                  </a:lnTo>
                  <a:close/>
                  <a:moveTo>
                    <a:pt x="177955" y="7159"/>
                  </a:moveTo>
                  <a:lnTo>
                    <a:pt x="178568" y="7466"/>
                  </a:lnTo>
                  <a:lnTo>
                    <a:pt x="177852" y="7261"/>
                  </a:lnTo>
                  <a:lnTo>
                    <a:pt x="177955" y="7159"/>
                  </a:lnTo>
                  <a:close/>
                  <a:moveTo>
                    <a:pt x="58602" y="6955"/>
                  </a:moveTo>
                  <a:lnTo>
                    <a:pt x="57375" y="7159"/>
                  </a:lnTo>
                  <a:lnTo>
                    <a:pt x="57784" y="7568"/>
                  </a:lnTo>
                  <a:lnTo>
                    <a:pt x="58602" y="7261"/>
                  </a:lnTo>
                  <a:lnTo>
                    <a:pt x="58602" y="6955"/>
                  </a:lnTo>
                  <a:close/>
                  <a:moveTo>
                    <a:pt x="108307" y="7568"/>
                  </a:moveTo>
                  <a:lnTo>
                    <a:pt x="108211" y="7587"/>
                  </a:lnTo>
                  <a:lnTo>
                    <a:pt x="108211" y="7587"/>
                  </a:lnTo>
                  <a:lnTo>
                    <a:pt x="108381" y="7603"/>
                  </a:lnTo>
                  <a:lnTo>
                    <a:pt x="108381" y="7603"/>
                  </a:lnTo>
                  <a:lnTo>
                    <a:pt x="108307" y="7568"/>
                  </a:lnTo>
                  <a:close/>
                  <a:moveTo>
                    <a:pt x="73636" y="7159"/>
                  </a:moveTo>
                  <a:lnTo>
                    <a:pt x="74659" y="7670"/>
                  </a:lnTo>
                  <a:lnTo>
                    <a:pt x="76193" y="7670"/>
                  </a:lnTo>
                  <a:lnTo>
                    <a:pt x="76193" y="7466"/>
                  </a:lnTo>
                  <a:lnTo>
                    <a:pt x="75989" y="7261"/>
                  </a:lnTo>
                  <a:lnTo>
                    <a:pt x="73636" y="7159"/>
                  </a:lnTo>
                  <a:close/>
                  <a:moveTo>
                    <a:pt x="108381" y="7603"/>
                  </a:moveTo>
                  <a:lnTo>
                    <a:pt x="109841" y="8284"/>
                  </a:lnTo>
                  <a:lnTo>
                    <a:pt x="110250" y="7773"/>
                  </a:lnTo>
                  <a:lnTo>
                    <a:pt x="108381" y="7603"/>
                  </a:lnTo>
                  <a:close/>
                  <a:moveTo>
                    <a:pt x="68011" y="6852"/>
                  </a:moveTo>
                  <a:lnTo>
                    <a:pt x="64227" y="7364"/>
                  </a:lnTo>
                  <a:lnTo>
                    <a:pt x="63511" y="8386"/>
                  </a:lnTo>
                  <a:lnTo>
                    <a:pt x="63511" y="8386"/>
                  </a:lnTo>
                  <a:lnTo>
                    <a:pt x="64534" y="8182"/>
                  </a:lnTo>
                  <a:lnTo>
                    <a:pt x="64739" y="7773"/>
                  </a:lnTo>
                  <a:lnTo>
                    <a:pt x="65352" y="7773"/>
                  </a:lnTo>
                  <a:lnTo>
                    <a:pt x="68011" y="6852"/>
                  </a:lnTo>
                  <a:close/>
                  <a:moveTo>
                    <a:pt x="216716" y="8182"/>
                  </a:moveTo>
                  <a:lnTo>
                    <a:pt x="217227" y="8489"/>
                  </a:lnTo>
                  <a:lnTo>
                    <a:pt x="217330" y="8182"/>
                  </a:lnTo>
                  <a:close/>
                  <a:moveTo>
                    <a:pt x="62080" y="6852"/>
                  </a:moveTo>
                  <a:lnTo>
                    <a:pt x="60852" y="7159"/>
                  </a:lnTo>
                  <a:lnTo>
                    <a:pt x="61568" y="7364"/>
                  </a:lnTo>
                  <a:lnTo>
                    <a:pt x="61057" y="7466"/>
                  </a:lnTo>
                  <a:lnTo>
                    <a:pt x="61057" y="7568"/>
                  </a:lnTo>
                  <a:lnTo>
                    <a:pt x="60341" y="7773"/>
                  </a:lnTo>
                  <a:lnTo>
                    <a:pt x="60034" y="7466"/>
                  </a:lnTo>
                  <a:lnTo>
                    <a:pt x="59420" y="7773"/>
                  </a:lnTo>
                  <a:lnTo>
                    <a:pt x="59727" y="8182"/>
                  </a:lnTo>
                  <a:lnTo>
                    <a:pt x="60136" y="8284"/>
                  </a:lnTo>
                  <a:lnTo>
                    <a:pt x="60443" y="8898"/>
                  </a:lnTo>
                  <a:lnTo>
                    <a:pt x="61159" y="8898"/>
                  </a:lnTo>
                  <a:lnTo>
                    <a:pt x="61364" y="8489"/>
                  </a:lnTo>
                  <a:lnTo>
                    <a:pt x="62182" y="8591"/>
                  </a:lnTo>
                  <a:lnTo>
                    <a:pt x="63205" y="7773"/>
                  </a:lnTo>
                  <a:lnTo>
                    <a:pt x="62795" y="7875"/>
                  </a:lnTo>
                  <a:lnTo>
                    <a:pt x="62795" y="7670"/>
                  </a:lnTo>
                  <a:lnTo>
                    <a:pt x="62898" y="7670"/>
                  </a:lnTo>
                  <a:lnTo>
                    <a:pt x="62182" y="7568"/>
                  </a:lnTo>
                  <a:lnTo>
                    <a:pt x="63409" y="7261"/>
                  </a:lnTo>
                  <a:lnTo>
                    <a:pt x="63205" y="7159"/>
                  </a:lnTo>
                  <a:lnTo>
                    <a:pt x="63511" y="6852"/>
                  </a:lnTo>
                  <a:close/>
                  <a:moveTo>
                    <a:pt x="47250" y="6443"/>
                  </a:moveTo>
                  <a:lnTo>
                    <a:pt x="47148" y="6852"/>
                  </a:lnTo>
                  <a:lnTo>
                    <a:pt x="43977" y="8386"/>
                  </a:lnTo>
                  <a:lnTo>
                    <a:pt x="44284" y="8386"/>
                  </a:lnTo>
                  <a:lnTo>
                    <a:pt x="44898" y="8693"/>
                  </a:lnTo>
                  <a:lnTo>
                    <a:pt x="44795" y="9102"/>
                  </a:lnTo>
                  <a:lnTo>
                    <a:pt x="44795" y="9102"/>
                  </a:lnTo>
                  <a:lnTo>
                    <a:pt x="51955" y="7159"/>
                  </a:lnTo>
                  <a:lnTo>
                    <a:pt x="51545" y="6545"/>
                  </a:lnTo>
                  <a:lnTo>
                    <a:pt x="50318" y="6750"/>
                  </a:lnTo>
                  <a:lnTo>
                    <a:pt x="50420" y="6545"/>
                  </a:lnTo>
                  <a:lnTo>
                    <a:pt x="50011" y="6648"/>
                  </a:lnTo>
                  <a:lnTo>
                    <a:pt x="50216" y="6545"/>
                  </a:lnTo>
                  <a:lnTo>
                    <a:pt x="47250" y="6443"/>
                  </a:lnTo>
                  <a:close/>
                  <a:moveTo>
                    <a:pt x="158625" y="7261"/>
                  </a:moveTo>
                  <a:lnTo>
                    <a:pt x="157602" y="7875"/>
                  </a:lnTo>
                  <a:lnTo>
                    <a:pt x="157500" y="8182"/>
                  </a:lnTo>
                  <a:lnTo>
                    <a:pt x="156989" y="8284"/>
                  </a:lnTo>
                  <a:lnTo>
                    <a:pt x="159034" y="9102"/>
                  </a:lnTo>
                  <a:lnTo>
                    <a:pt x="158830" y="9102"/>
                  </a:lnTo>
                  <a:lnTo>
                    <a:pt x="158830" y="9205"/>
                  </a:lnTo>
                  <a:lnTo>
                    <a:pt x="158727" y="9205"/>
                  </a:lnTo>
                  <a:lnTo>
                    <a:pt x="158727" y="9307"/>
                  </a:lnTo>
                  <a:lnTo>
                    <a:pt x="158625" y="9307"/>
                  </a:lnTo>
                  <a:lnTo>
                    <a:pt x="160773" y="9614"/>
                  </a:lnTo>
                  <a:lnTo>
                    <a:pt x="160773" y="9614"/>
                  </a:lnTo>
                  <a:lnTo>
                    <a:pt x="160568" y="9511"/>
                  </a:lnTo>
                  <a:lnTo>
                    <a:pt x="161489" y="9511"/>
                  </a:lnTo>
                  <a:lnTo>
                    <a:pt x="159239" y="8080"/>
                  </a:lnTo>
                  <a:lnTo>
                    <a:pt x="159341" y="7773"/>
                  </a:lnTo>
                  <a:lnTo>
                    <a:pt x="159545" y="7670"/>
                  </a:lnTo>
                  <a:lnTo>
                    <a:pt x="159545" y="7466"/>
                  </a:lnTo>
                  <a:lnTo>
                    <a:pt x="158625" y="7261"/>
                  </a:lnTo>
                  <a:close/>
                  <a:moveTo>
                    <a:pt x="18920" y="9818"/>
                  </a:moveTo>
                  <a:lnTo>
                    <a:pt x="18511" y="9920"/>
                  </a:lnTo>
                  <a:lnTo>
                    <a:pt x="18511" y="9920"/>
                  </a:lnTo>
                  <a:lnTo>
                    <a:pt x="18637" y="9901"/>
                  </a:lnTo>
                  <a:lnTo>
                    <a:pt x="18637" y="9901"/>
                  </a:lnTo>
                  <a:lnTo>
                    <a:pt x="18920" y="9818"/>
                  </a:lnTo>
                  <a:close/>
                  <a:moveTo>
                    <a:pt x="137352" y="10125"/>
                  </a:moveTo>
                  <a:lnTo>
                    <a:pt x="137352" y="10125"/>
                  </a:lnTo>
                  <a:lnTo>
                    <a:pt x="137352" y="10125"/>
                  </a:lnTo>
                  <a:close/>
                  <a:moveTo>
                    <a:pt x="88977" y="9818"/>
                  </a:moveTo>
                  <a:lnTo>
                    <a:pt x="88670" y="10125"/>
                  </a:lnTo>
                  <a:lnTo>
                    <a:pt x="88466" y="10125"/>
                  </a:lnTo>
                  <a:lnTo>
                    <a:pt x="88364" y="10432"/>
                  </a:lnTo>
                  <a:lnTo>
                    <a:pt x="88875" y="10534"/>
                  </a:lnTo>
                  <a:lnTo>
                    <a:pt x="88568" y="10636"/>
                  </a:lnTo>
                  <a:lnTo>
                    <a:pt x="89489" y="10636"/>
                  </a:lnTo>
                  <a:lnTo>
                    <a:pt x="90000" y="10227"/>
                  </a:lnTo>
                  <a:lnTo>
                    <a:pt x="88977" y="9818"/>
                  </a:lnTo>
                  <a:close/>
                  <a:moveTo>
                    <a:pt x="52466" y="7261"/>
                  </a:moveTo>
                  <a:lnTo>
                    <a:pt x="48170" y="8591"/>
                  </a:lnTo>
                  <a:lnTo>
                    <a:pt x="48784" y="8693"/>
                  </a:lnTo>
                  <a:lnTo>
                    <a:pt x="48375" y="8898"/>
                  </a:lnTo>
                  <a:lnTo>
                    <a:pt x="50216" y="8795"/>
                  </a:lnTo>
                  <a:lnTo>
                    <a:pt x="50216" y="8795"/>
                  </a:lnTo>
                  <a:lnTo>
                    <a:pt x="49705" y="8898"/>
                  </a:lnTo>
                  <a:lnTo>
                    <a:pt x="49807" y="8898"/>
                  </a:lnTo>
                  <a:lnTo>
                    <a:pt x="47761" y="9307"/>
                  </a:lnTo>
                  <a:lnTo>
                    <a:pt x="51545" y="9818"/>
                  </a:lnTo>
                  <a:lnTo>
                    <a:pt x="48273" y="9920"/>
                  </a:lnTo>
                  <a:lnTo>
                    <a:pt x="47557" y="10534"/>
                  </a:lnTo>
                  <a:lnTo>
                    <a:pt x="49193" y="10739"/>
                  </a:lnTo>
                  <a:lnTo>
                    <a:pt x="48989" y="11352"/>
                  </a:lnTo>
                  <a:lnTo>
                    <a:pt x="54102" y="10534"/>
                  </a:lnTo>
                  <a:lnTo>
                    <a:pt x="54102" y="10739"/>
                  </a:lnTo>
                  <a:lnTo>
                    <a:pt x="54818" y="10841"/>
                  </a:lnTo>
                  <a:lnTo>
                    <a:pt x="54614" y="10943"/>
                  </a:lnTo>
                  <a:lnTo>
                    <a:pt x="56148" y="11045"/>
                  </a:lnTo>
                  <a:lnTo>
                    <a:pt x="57170" y="10534"/>
                  </a:lnTo>
                  <a:lnTo>
                    <a:pt x="56250" y="10739"/>
                  </a:lnTo>
                  <a:lnTo>
                    <a:pt x="56455" y="10534"/>
                  </a:lnTo>
                  <a:lnTo>
                    <a:pt x="56352" y="10432"/>
                  </a:lnTo>
                  <a:lnTo>
                    <a:pt x="58295" y="10023"/>
                  </a:lnTo>
                  <a:lnTo>
                    <a:pt x="57989" y="9920"/>
                  </a:lnTo>
                  <a:lnTo>
                    <a:pt x="57989" y="9818"/>
                  </a:lnTo>
                  <a:lnTo>
                    <a:pt x="56864" y="9409"/>
                  </a:lnTo>
                  <a:lnTo>
                    <a:pt x="57682" y="7670"/>
                  </a:lnTo>
                  <a:lnTo>
                    <a:pt x="56455" y="7364"/>
                  </a:lnTo>
                  <a:lnTo>
                    <a:pt x="55739" y="8489"/>
                  </a:lnTo>
                  <a:lnTo>
                    <a:pt x="55023" y="8693"/>
                  </a:lnTo>
                  <a:lnTo>
                    <a:pt x="55023" y="8693"/>
                  </a:lnTo>
                  <a:lnTo>
                    <a:pt x="55227" y="7875"/>
                  </a:lnTo>
                  <a:lnTo>
                    <a:pt x="54614" y="7773"/>
                  </a:lnTo>
                  <a:lnTo>
                    <a:pt x="53591" y="8080"/>
                  </a:lnTo>
                  <a:lnTo>
                    <a:pt x="53693" y="7977"/>
                  </a:lnTo>
                  <a:lnTo>
                    <a:pt x="53182" y="8080"/>
                  </a:lnTo>
                  <a:lnTo>
                    <a:pt x="53182" y="8080"/>
                  </a:lnTo>
                  <a:lnTo>
                    <a:pt x="53898" y="7773"/>
                  </a:lnTo>
                  <a:lnTo>
                    <a:pt x="51750" y="7875"/>
                  </a:lnTo>
                  <a:lnTo>
                    <a:pt x="52466" y="7261"/>
                  </a:lnTo>
                  <a:close/>
                  <a:moveTo>
                    <a:pt x="60341" y="10330"/>
                  </a:moveTo>
                  <a:lnTo>
                    <a:pt x="58602" y="10841"/>
                  </a:lnTo>
                  <a:lnTo>
                    <a:pt x="59114" y="11148"/>
                  </a:lnTo>
                  <a:lnTo>
                    <a:pt x="60136" y="11352"/>
                  </a:lnTo>
                  <a:lnTo>
                    <a:pt x="61159" y="11045"/>
                  </a:lnTo>
                  <a:lnTo>
                    <a:pt x="60239" y="10432"/>
                  </a:lnTo>
                  <a:lnTo>
                    <a:pt x="60341" y="10330"/>
                  </a:lnTo>
                  <a:close/>
                  <a:moveTo>
                    <a:pt x="175193" y="11250"/>
                  </a:moveTo>
                  <a:lnTo>
                    <a:pt x="176114" y="11557"/>
                  </a:lnTo>
                  <a:lnTo>
                    <a:pt x="176114" y="12068"/>
                  </a:lnTo>
                  <a:lnTo>
                    <a:pt x="177136" y="12170"/>
                  </a:lnTo>
                  <a:lnTo>
                    <a:pt x="177136" y="12170"/>
                  </a:lnTo>
                  <a:lnTo>
                    <a:pt x="176011" y="12068"/>
                  </a:lnTo>
                  <a:lnTo>
                    <a:pt x="175193" y="11250"/>
                  </a:lnTo>
                  <a:close/>
                  <a:moveTo>
                    <a:pt x="73023" y="11557"/>
                  </a:moveTo>
                  <a:lnTo>
                    <a:pt x="72307" y="12375"/>
                  </a:lnTo>
                  <a:lnTo>
                    <a:pt x="73432" y="12375"/>
                  </a:lnTo>
                  <a:lnTo>
                    <a:pt x="74148" y="11659"/>
                  </a:lnTo>
                  <a:lnTo>
                    <a:pt x="73023" y="11557"/>
                  </a:lnTo>
                  <a:close/>
                  <a:moveTo>
                    <a:pt x="108409" y="13295"/>
                  </a:moveTo>
                  <a:lnTo>
                    <a:pt x="108716" y="13398"/>
                  </a:lnTo>
                  <a:lnTo>
                    <a:pt x="108818" y="13398"/>
                  </a:lnTo>
                  <a:lnTo>
                    <a:pt x="108409" y="13295"/>
                  </a:lnTo>
                  <a:close/>
                  <a:moveTo>
                    <a:pt x="9205" y="13807"/>
                  </a:moveTo>
                  <a:lnTo>
                    <a:pt x="9102" y="13909"/>
                  </a:lnTo>
                  <a:lnTo>
                    <a:pt x="9205" y="13909"/>
                  </a:lnTo>
                  <a:lnTo>
                    <a:pt x="9205" y="13807"/>
                  </a:lnTo>
                  <a:close/>
                  <a:moveTo>
                    <a:pt x="5420" y="11045"/>
                  </a:moveTo>
                  <a:lnTo>
                    <a:pt x="0" y="14420"/>
                  </a:lnTo>
                  <a:lnTo>
                    <a:pt x="511" y="14318"/>
                  </a:lnTo>
                  <a:lnTo>
                    <a:pt x="1227" y="13909"/>
                  </a:lnTo>
                  <a:lnTo>
                    <a:pt x="1227" y="13705"/>
                  </a:lnTo>
                  <a:lnTo>
                    <a:pt x="1739" y="13398"/>
                  </a:lnTo>
                  <a:lnTo>
                    <a:pt x="1636" y="13500"/>
                  </a:lnTo>
                  <a:lnTo>
                    <a:pt x="2352" y="13295"/>
                  </a:lnTo>
                  <a:lnTo>
                    <a:pt x="2148" y="13398"/>
                  </a:lnTo>
                  <a:lnTo>
                    <a:pt x="2761" y="13193"/>
                  </a:lnTo>
                  <a:lnTo>
                    <a:pt x="2761" y="13193"/>
                  </a:lnTo>
                  <a:lnTo>
                    <a:pt x="1636" y="14011"/>
                  </a:lnTo>
                  <a:lnTo>
                    <a:pt x="3273" y="14114"/>
                  </a:lnTo>
                  <a:lnTo>
                    <a:pt x="3068" y="14625"/>
                  </a:lnTo>
                  <a:lnTo>
                    <a:pt x="3375" y="15034"/>
                  </a:lnTo>
                  <a:lnTo>
                    <a:pt x="3989" y="14932"/>
                  </a:lnTo>
                  <a:lnTo>
                    <a:pt x="3682" y="15136"/>
                  </a:lnTo>
                  <a:lnTo>
                    <a:pt x="4295" y="14932"/>
                  </a:lnTo>
                  <a:lnTo>
                    <a:pt x="4193" y="15034"/>
                  </a:lnTo>
                  <a:lnTo>
                    <a:pt x="4193" y="15034"/>
                  </a:lnTo>
                  <a:lnTo>
                    <a:pt x="4602" y="14727"/>
                  </a:lnTo>
                  <a:lnTo>
                    <a:pt x="4500" y="14625"/>
                  </a:lnTo>
                  <a:lnTo>
                    <a:pt x="5523" y="14318"/>
                  </a:lnTo>
                  <a:lnTo>
                    <a:pt x="5318" y="14318"/>
                  </a:lnTo>
                  <a:lnTo>
                    <a:pt x="5830" y="14114"/>
                  </a:lnTo>
                  <a:lnTo>
                    <a:pt x="5727" y="14114"/>
                  </a:lnTo>
                  <a:lnTo>
                    <a:pt x="5727" y="13909"/>
                  </a:lnTo>
                  <a:lnTo>
                    <a:pt x="6136" y="14011"/>
                  </a:lnTo>
                  <a:lnTo>
                    <a:pt x="6750" y="14011"/>
                  </a:lnTo>
                  <a:lnTo>
                    <a:pt x="6852" y="13807"/>
                  </a:lnTo>
                  <a:lnTo>
                    <a:pt x="7159" y="13909"/>
                  </a:lnTo>
                  <a:lnTo>
                    <a:pt x="8386" y="13500"/>
                  </a:lnTo>
                  <a:lnTo>
                    <a:pt x="8080" y="13398"/>
                  </a:lnTo>
                  <a:lnTo>
                    <a:pt x="7977" y="13398"/>
                  </a:lnTo>
                  <a:lnTo>
                    <a:pt x="8080" y="13193"/>
                  </a:lnTo>
                  <a:lnTo>
                    <a:pt x="8080" y="12886"/>
                  </a:lnTo>
                  <a:lnTo>
                    <a:pt x="7364" y="12682"/>
                  </a:lnTo>
                  <a:lnTo>
                    <a:pt x="7364" y="12682"/>
                  </a:lnTo>
                  <a:lnTo>
                    <a:pt x="7568" y="12784"/>
                  </a:lnTo>
                  <a:lnTo>
                    <a:pt x="6852" y="12886"/>
                  </a:lnTo>
                  <a:lnTo>
                    <a:pt x="7261" y="12682"/>
                  </a:lnTo>
                  <a:lnTo>
                    <a:pt x="6341" y="12682"/>
                  </a:lnTo>
                  <a:lnTo>
                    <a:pt x="6034" y="12989"/>
                  </a:lnTo>
                  <a:lnTo>
                    <a:pt x="6034" y="13193"/>
                  </a:lnTo>
                  <a:lnTo>
                    <a:pt x="5625" y="13398"/>
                  </a:lnTo>
                  <a:lnTo>
                    <a:pt x="5625" y="13398"/>
                  </a:lnTo>
                  <a:lnTo>
                    <a:pt x="5932" y="13193"/>
                  </a:lnTo>
                  <a:lnTo>
                    <a:pt x="5523" y="13295"/>
                  </a:lnTo>
                  <a:lnTo>
                    <a:pt x="5523" y="13091"/>
                  </a:lnTo>
                  <a:lnTo>
                    <a:pt x="6545" y="12375"/>
                  </a:lnTo>
                  <a:lnTo>
                    <a:pt x="6136" y="12375"/>
                  </a:lnTo>
                  <a:lnTo>
                    <a:pt x="6648" y="12068"/>
                  </a:lnTo>
                  <a:lnTo>
                    <a:pt x="5830" y="11659"/>
                  </a:lnTo>
                  <a:lnTo>
                    <a:pt x="5932" y="11557"/>
                  </a:lnTo>
                  <a:lnTo>
                    <a:pt x="5727" y="11352"/>
                  </a:lnTo>
                  <a:lnTo>
                    <a:pt x="5523" y="11557"/>
                  </a:lnTo>
                  <a:lnTo>
                    <a:pt x="5523" y="11352"/>
                  </a:lnTo>
                  <a:lnTo>
                    <a:pt x="5625" y="11250"/>
                  </a:lnTo>
                  <a:lnTo>
                    <a:pt x="5420" y="11045"/>
                  </a:lnTo>
                  <a:close/>
                  <a:moveTo>
                    <a:pt x="113011" y="13193"/>
                  </a:moveTo>
                  <a:lnTo>
                    <a:pt x="112807" y="13398"/>
                  </a:lnTo>
                  <a:lnTo>
                    <a:pt x="112500" y="13398"/>
                  </a:lnTo>
                  <a:lnTo>
                    <a:pt x="112193" y="13602"/>
                  </a:lnTo>
                  <a:lnTo>
                    <a:pt x="111682" y="13500"/>
                  </a:lnTo>
                  <a:lnTo>
                    <a:pt x="111682" y="13500"/>
                  </a:lnTo>
                  <a:lnTo>
                    <a:pt x="111784" y="13807"/>
                  </a:lnTo>
                  <a:lnTo>
                    <a:pt x="111170" y="13500"/>
                  </a:lnTo>
                  <a:lnTo>
                    <a:pt x="110864" y="13500"/>
                  </a:lnTo>
                  <a:lnTo>
                    <a:pt x="110864" y="13807"/>
                  </a:lnTo>
                  <a:lnTo>
                    <a:pt x="110250" y="13602"/>
                  </a:lnTo>
                  <a:lnTo>
                    <a:pt x="110148" y="14011"/>
                  </a:lnTo>
                  <a:lnTo>
                    <a:pt x="109739" y="14011"/>
                  </a:lnTo>
                  <a:lnTo>
                    <a:pt x="109636" y="14216"/>
                  </a:lnTo>
                  <a:lnTo>
                    <a:pt x="109432" y="14114"/>
                  </a:lnTo>
                  <a:lnTo>
                    <a:pt x="109534" y="14011"/>
                  </a:lnTo>
                  <a:lnTo>
                    <a:pt x="109330" y="13807"/>
                  </a:lnTo>
                  <a:lnTo>
                    <a:pt x="109534" y="13602"/>
                  </a:lnTo>
                  <a:lnTo>
                    <a:pt x="108716" y="13398"/>
                  </a:lnTo>
                  <a:lnTo>
                    <a:pt x="108511" y="13398"/>
                  </a:lnTo>
                  <a:lnTo>
                    <a:pt x="108716" y="13705"/>
                  </a:lnTo>
                  <a:lnTo>
                    <a:pt x="108102" y="13500"/>
                  </a:lnTo>
                  <a:lnTo>
                    <a:pt x="108102" y="13500"/>
                  </a:lnTo>
                  <a:lnTo>
                    <a:pt x="108205" y="13602"/>
                  </a:lnTo>
                  <a:lnTo>
                    <a:pt x="108102" y="13705"/>
                  </a:lnTo>
                  <a:lnTo>
                    <a:pt x="107898" y="13705"/>
                  </a:lnTo>
                  <a:lnTo>
                    <a:pt x="108205" y="13807"/>
                  </a:lnTo>
                  <a:lnTo>
                    <a:pt x="107693" y="13807"/>
                  </a:lnTo>
                  <a:lnTo>
                    <a:pt x="107795" y="14011"/>
                  </a:lnTo>
                  <a:lnTo>
                    <a:pt x="107386" y="14011"/>
                  </a:lnTo>
                  <a:lnTo>
                    <a:pt x="109125" y="14114"/>
                  </a:lnTo>
                  <a:lnTo>
                    <a:pt x="108614" y="14318"/>
                  </a:lnTo>
                  <a:lnTo>
                    <a:pt x="109125" y="14318"/>
                  </a:lnTo>
                  <a:lnTo>
                    <a:pt x="109125" y="14420"/>
                  </a:lnTo>
                  <a:lnTo>
                    <a:pt x="107898" y="14523"/>
                  </a:lnTo>
                  <a:lnTo>
                    <a:pt x="107795" y="14727"/>
                  </a:lnTo>
                  <a:lnTo>
                    <a:pt x="109227" y="14830"/>
                  </a:lnTo>
                  <a:lnTo>
                    <a:pt x="108818" y="15136"/>
                  </a:lnTo>
                  <a:lnTo>
                    <a:pt x="109227" y="15034"/>
                  </a:lnTo>
                  <a:lnTo>
                    <a:pt x="108307" y="15341"/>
                  </a:lnTo>
                  <a:lnTo>
                    <a:pt x="108716" y="15545"/>
                  </a:lnTo>
                  <a:lnTo>
                    <a:pt x="109432" y="15443"/>
                  </a:lnTo>
                  <a:lnTo>
                    <a:pt x="111375" y="15852"/>
                  </a:lnTo>
                  <a:lnTo>
                    <a:pt x="114648" y="14625"/>
                  </a:lnTo>
                  <a:lnTo>
                    <a:pt x="114648" y="14216"/>
                  </a:lnTo>
                  <a:lnTo>
                    <a:pt x="114034" y="13807"/>
                  </a:lnTo>
                  <a:lnTo>
                    <a:pt x="113830" y="13500"/>
                  </a:lnTo>
                  <a:lnTo>
                    <a:pt x="114239" y="13295"/>
                  </a:lnTo>
                  <a:lnTo>
                    <a:pt x="113011" y="13193"/>
                  </a:lnTo>
                  <a:close/>
                  <a:moveTo>
                    <a:pt x="65557" y="13705"/>
                  </a:moveTo>
                  <a:lnTo>
                    <a:pt x="63102" y="15750"/>
                  </a:lnTo>
                  <a:lnTo>
                    <a:pt x="63818" y="15750"/>
                  </a:lnTo>
                  <a:lnTo>
                    <a:pt x="64023" y="16159"/>
                  </a:lnTo>
                  <a:lnTo>
                    <a:pt x="66309" y="15364"/>
                  </a:lnTo>
                  <a:lnTo>
                    <a:pt x="66309" y="15364"/>
                  </a:lnTo>
                  <a:lnTo>
                    <a:pt x="67091" y="15852"/>
                  </a:lnTo>
                  <a:lnTo>
                    <a:pt x="68114" y="15545"/>
                  </a:lnTo>
                  <a:lnTo>
                    <a:pt x="67091" y="15443"/>
                  </a:lnTo>
                  <a:lnTo>
                    <a:pt x="67295" y="14830"/>
                  </a:lnTo>
                  <a:lnTo>
                    <a:pt x="65659" y="14011"/>
                  </a:lnTo>
                  <a:lnTo>
                    <a:pt x="65557" y="13705"/>
                  </a:lnTo>
                  <a:close/>
                  <a:moveTo>
                    <a:pt x="128864" y="16773"/>
                  </a:moveTo>
                  <a:lnTo>
                    <a:pt x="128455" y="16875"/>
                  </a:lnTo>
                  <a:lnTo>
                    <a:pt x="128455" y="16875"/>
                  </a:lnTo>
                  <a:lnTo>
                    <a:pt x="128785" y="16804"/>
                  </a:lnTo>
                  <a:lnTo>
                    <a:pt x="128785" y="16804"/>
                  </a:lnTo>
                  <a:lnTo>
                    <a:pt x="128864" y="16773"/>
                  </a:lnTo>
                  <a:close/>
                  <a:moveTo>
                    <a:pt x="73227" y="6955"/>
                  </a:moveTo>
                  <a:lnTo>
                    <a:pt x="70773" y="7364"/>
                  </a:lnTo>
                  <a:lnTo>
                    <a:pt x="71080" y="7670"/>
                  </a:lnTo>
                  <a:lnTo>
                    <a:pt x="70159" y="7773"/>
                  </a:lnTo>
                  <a:lnTo>
                    <a:pt x="70466" y="8080"/>
                  </a:lnTo>
                  <a:lnTo>
                    <a:pt x="70466" y="8386"/>
                  </a:lnTo>
                  <a:lnTo>
                    <a:pt x="69443" y="8386"/>
                  </a:lnTo>
                  <a:lnTo>
                    <a:pt x="69955" y="8693"/>
                  </a:lnTo>
                  <a:lnTo>
                    <a:pt x="69545" y="9205"/>
                  </a:lnTo>
                  <a:lnTo>
                    <a:pt x="68318" y="9205"/>
                  </a:lnTo>
                  <a:lnTo>
                    <a:pt x="69545" y="8898"/>
                  </a:lnTo>
                  <a:lnTo>
                    <a:pt x="69136" y="8489"/>
                  </a:lnTo>
                  <a:lnTo>
                    <a:pt x="69443" y="7773"/>
                  </a:lnTo>
                  <a:lnTo>
                    <a:pt x="71284" y="6955"/>
                  </a:lnTo>
                  <a:lnTo>
                    <a:pt x="71284" y="6955"/>
                  </a:lnTo>
                  <a:lnTo>
                    <a:pt x="67193" y="8284"/>
                  </a:lnTo>
                  <a:lnTo>
                    <a:pt x="66682" y="8898"/>
                  </a:lnTo>
                  <a:lnTo>
                    <a:pt x="67909" y="9205"/>
                  </a:lnTo>
                  <a:lnTo>
                    <a:pt x="66477" y="9205"/>
                  </a:lnTo>
                  <a:lnTo>
                    <a:pt x="68114" y="9716"/>
                  </a:lnTo>
                  <a:lnTo>
                    <a:pt x="67909" y="9920"/>
                  </a:lnTo>
                  <a:lnTo>
                    <a:pt x="70875" y="10125"/>
                  </a:lnTo>
                  <a:lnTo>
                    <a:pt x="70875" y="10023"/>
                  </a:lnTo>
                  <a:lnTo>
                    <a:pt x="72205" y="10227"/>
                  </a:lnTo>
                  <a:lnTo>
                    <a:pt x="72614" y="9716"/>
                  </a:lnTo>
                  <a:lnTo>
                    <a:pt x="73534" y="9920"/>
                  </a:lnTo>
                  <a:lnTo>
                    <a:pt x="73432" y="10227"/>
                  </a:lnTo>
                  <a:lnTo>
                    <a:pt x="73841" y="10330"/>
                  </a:lnTo>
                  <a:lnTo>
                    <a:pt x="73636" y="10432"/>
                  </a:lnTo>
                  <a:lnTo>
                    <a:pt x="74148" y="10330"/>
                  </a:lnTo>
                  <a:lnTo>
                    <a:pt x="74250" y="10739"/>
                  </a:lnTo>
                  <a:lnTo>
                    <a:pt x="73432" y="11148"/>
                  </a:lnTo>
                  <a:lnTo>
                    <a:pt x="74685" y="10969"/>
                  </a:lnTo>
                  <a:lnTo>
                    <a:pt x="74761" y="11045"/>
                  </a:lnTo>
                  <a:lnTo>
                    <a:pt x="74557" y="11148"/>
                  </a:lnTo>
                  <a:lnTo>
                    <a:pt x="75375" y="11557"/>
                  </a:lnTo>
                  <a:lnTo>
                    <a:pt x="75477" y="12273"/>
                  </a:lnTo>
                  <a:lnTo>
                    <a:pt x="73534" y="13398"/>
                  </a:lnTo>
                  <a:lnTo>
                    <a:pt x="73636" y="13807"/>
                  </a:lnTo>
                  <a:lnTo>
                    <a:pt x="72000" y="14216"/>
                  </a:lnTo>
                  <a:lnTo>
                    <a:pt x="72000" y="14318"/>
                  </a:lnTo>
                  <a:lnTo>
                    <a:pt x="72000" y="14420"/>
                  </a:lnTo>
                  <a:lnTo>
                    <a:pt x="71898" y="14625"/>
                  </a:lnTo>
                  <a:lnTo>
                    <a:pt x="72000" y="14318"/>
                  </a:lnTo>
                  <a:lnTo>
                    <a:pt x="71080" y="14114"/>
                  </a:lnTo>
                  <a:lnTo>
                    <a:pt x="70057" y="14727"/>
                  </a:lnTo>
                  <a:lnTo>
                    <a:pt x="70977" y="15136"/>
                  </a:lnTo>
                  <a:lnTo>
                    <a:pt x="72307" y="14727"/>
                  </a:lnTo>
                  <a:lnTo>
                    <a:pt x="72818" y="14830"/>
                  </a:lnTo>
                  <a:lnTo>
                    <a:pt x="72716" y="15034"/>
                  </a:lnTo>
                  <a:lnTo>
                    <a:pt x="72716" y="15034"/>
                  </a:lnTo>
                  <a:lnTo>
                    <a:pt x="73330" y="14830"/>
                  </a:lnTo>
                  <a:lnTo>
                    <a:pt x="73125" y="15034"/>
                  </a:lnTo>
                  <a:lnTo>
                    <a:pt x="73739" y="15545"/>
                  </a:lnTo>
                  <a:lnTo>
                    <a:pt x="73636" y="15648"/>
                  </a:lnTo>
                  <a:lnTo>
                    <a:pt x="74148" y="15750"/>
                  </a:lnTo>
                  <a:lnTo>
                    <a:pt x="73636" y="15955"/>
                  </a:lnTo>
                  <a:lnTo>
                    <a:pt x="74250" y="16261"/>
                  </a:lnTo>
                  <a:lnTo>
                    <a:pt x="74045" y="16364"/>
                  </a:lnTo>
                  <a:lnTo>
                    <a:pt x="76909" y="17386"/>
                  </a:lnTo>
                  <a:lnTo>
                    <a:pt x="77318" y="17080"/>
                  </a:lnTo>
                  <a:lnTo>
                    <a:pt x="76398" y="16364"/>
                  </a:lnTo>
                  <a:lnTo>
                    <a:pt x="76500" y="16261"/>
                  </a:lnTo>
                  <a:lnTo>
                    <a:pt x="75989" y="15648"/>
                  </a:lnTo>
                  <a:lnTo>
                    <a:pt x="76705" y="15648"/>
                  </a:lnTo>
                  <a:lnTo>
                    <a:pt x="78034" y="16568"/>
                  </a:lnTo>
                  <a:lnTo>
                    <a:pt x="78239" y="16364"/>
                  </a:lnTo>
                  <a:lnTo>
                    <a:pt x="78545" y="16364"/>
                  </a:lnTo>
                  <a:lnTo>
                    <a:pt x="78545" y="15648"/>
                  </a:lnTo>
                  <a:lnTo>
                    <a:pt x="78955" y="15955"/>
                  </a:lnTo>
                  <a:lnTo>
                    <a:pt x="78955" y="15443"/>
                  </a:lnTo>
                  <a:lnTo>
                    <a:pt x="79057" y="15341"/>
                  </a:lnTo>
                  <a:lnTo>
                    <a:pt x="78750" y="15341"/>
                  </a:lnTo>
                  <a:lnTo>
                    <a:pt x="78545" y="15136"/>
                  </a:lnTo>
                  <a:lnTo>
                    <a:pt x="78955" y="14932"/>
                  </a:lnTo>
                  <a:lnTo>
                    <a:pt x="78648" y="14932"/>
                  </a:lnTo>
                  <a:lnTo>
                    <a:pt x="78955" y="14830"/>
                  </a:lnTo>
                  <a:lnTo>
                    <a:pt x="78648" y="14625"/>
                  </a:lnTo>
                  <a:lnTo>
                    <a:pt x="78034" y="14625"/>
                  </a:lnTo>
                  <a:lnTo>
                    <a:pt x="77830" y="14216"/>
                  </a:lnTo>
                  <a:lnTo>
                    <a:pt x="78034" y="14114"/>
                  </a:lnTo>
                  <a:lnTo>
                    <a:pt x="77523" y="14011"/>
                  </a:lnTo>
                  <a:lnTo>
                    <a:pt x="77727" y="13807"/>
                  </a:lnTo>
                  <a:lnTo>
                    <a:pt x="77318" y="13398"/>
                  </a:lnTo>
                  <a:lnTo>
                    <a:pt x="78341" y="13602"/>
                  </a:lnTo>
                  <a:lnTo>
                    <a:pt x="78136" y="13193"/>
                  </a:lnTo>
                  <a:lnTo>
                    <a:pt x="78545" y="13091"/>
                  </a:lnTo>
                  <a:lnTo>
                    <a:pt x="79466" y="13398"/>
                  </a:lnTo>
                  <a:lnTo>
                    <a:pt x="79159" y="13602"/>
                  </a:lnTo>
                  <a:lnTo>
                    <a:pt x="79159" y="13602"/>
                  </a:lnTo>
                  <a:lnTo>
                    <a:pt x="80284" y="13295"/>
                  </a:lnTo>
                  <a:lnTo>
                    <a:pt x="79466" y="13909"/>
                  </a:lnTo>
                  <a:lnTo>
                    <a:pt x="79568" y="14318"/>
                  </a:lnTo>
                  <a:lnTo>
                    <a:pt x="79977" y="14114"/>
                  </a:lnTo>
                  <a:lnTo>
                    <a:pt x="80182" y="14420"/>
                  </a:lnTo>
                  <a:lnTo>
                    <a:pt x="80489" y="14420"/>
                  </a:lnTo>
                  <a:lnTo>
                    <a:pt x="80693" y="13909"/>
                  </a:lnTo>
                  <a:lnTo>
                    <a:pt x="80489" y="13909"/>
                  </a:lnTo>
                  <a:lnTo>
                    <a:pt x="81818" y="13602"/>
                  </a:lnTo>
                  <a:lnTo>
                    <a:pt x="81511" y="13398"/>
                  </a:lnTo>
                  <a:lnTo>
                    <a:pt x="81716" y="13295"/>
                  </a:lnTo>
                  <a:lnTo>
                    <a:pt x="81614" y="13193"/>
                  </a:lnTo>
                  <a:lnTo>
                    <a:pt x="82023" y="13295"/>
                  </a:lnTo>
                  <a:lnTo>
                    <a:pt x="82023" y="12989"/>
                  </a:lnTo>
                  <a:lnTo>
                    <a:pt x="82227" y="12989"/>
                  </a:lnTo>
                  <a:lnTo>
                    <a:pt x="82227" y="12682"/>
                  </a:lnTo>
                  <a:lnTo>
                    <a:pt x="81000" y="12886"/>
                  </a:lnTo>
                  <a:lnTo>
                    <a:pt x="81716" y="12477"/>
                  </a:lnTo>
                  <a:lnTo>
                    <a:pt x="80591" y="12375"/>
                  </a:lnTo>
                  <a:lnTo>
                    <a:pt x="81307" y="12170"/>
                  </a:lnTo>
                  <a:lnTo>
                    <a:pt x="80591" y="11966"/>
                  </a:lnTo>
                  <a:lnTo>
                    <a:pt x="80795" y="11864"/>
                  </a:lnTo>
                  <a:lnTo>
                    <a:pt x="80284" y="12068"/>
                  </a:lnTo>
                  <a:lnTo>
                    <a:pt x="80386" y="11864"/>
                  </a:lnTo>
                  <a:lnTo>
                    <a:pt x="80080" y="11864"/>
                  </a:lnTo>
                  <a:lnTo>
                    <a:pt x="80182" y="11761"/>
                  </a:lnTo>
                  <a:lnTo>
                    <a:pt x="79670" y="11966"/>
                  </a:lnTo>
                  <a:lnTo>
                    <a:pt x="80080" y="11557"/>
                  </a:lnTo>
                  <a:lnTo>
                    <a:pt x="79670" y="11761"/>
                  </a:lnTo>
                  <a:lnTo>
                    <a:pt x="79466" y="11761"/>
                  </a:lnTo>
                  <a:lnTo>
                    <a:pt x="79568" y="11557"/>
                  </a:lnTo>
                  <a:lnTo>
                    <a:pt x="79773" y="11455"/>
                  </a:lnTo>
                  <a:lnTo>
                    <a:pt x="79057" y="11352"/>
                  </a:lnTo>
                  <a:lnTo>
                    <a:pt x="78955" y="11148"/>
                  </a:lnTo>
                  <a:lnTo>
                    <a:pt x="78239" y="11045"/>
                  </a:lnTo>
                  <a:lnTo>
                    <a:pt x="79466" y="10943"/>
                  </a:lnTo>
                  <a:lnTo>
                    <a:pt x="78648" y="10841"/>
                  </a:lnTo>
                  <a:lnTo>
                    <a:pt x="80284" y="10739"/>
                  </a:lnTo>
                  <a:lnTo>
                    <a:pt x="78648" y="10534"/>
                  </a:lnTo>
                  <a:lnTo>
                    <a:pt x="80080" y="10330"/>
                  </a:lnTo>
                  <a:lnTo>
                    <a:pt x="79670" y="10023"/>
                  </a:lnTo>
                  <a:lnTo>
                    <a:pt x="79057" y="10125"/>
                  </a:lnTo>
                  <a:lnTo>
                    <a:pt x="79364" y="9920"/>
                  </a:lnTo>
                  <a:lnTo>
                    <a:pt x="78443" y="10023"/>
                  </a:lnTo>
                  <a:lnTo>
                    <a:pt x="79568" y="9716"/>
                  </a:lnTo>
                  <a:lnTo>
                    <a:pt x="79466" y="9409"/>
                  </a:lnTo>
                  <a:lnTo>
                    <a:pt x="78750" y="9409"/>
                  </a:lnTo>
                  <a:lnTo>
                    <a:pt x="77625" y="10023"/>
                  </a:lnTo>
                  <a:lnTo>
                    <a:pt x="77420" y="9716"/>
                  </a:lnTo>
                  <a:lnTo>
                    <a:pt x="78545" y="9205"/>
                  </a:lnTo>
                  <a:lnTo>
                    <a:pt x="77216" y="9409"/>
                  </a:lnTo>
                  <a:lnTo>
                    <a:pt x="77216" y="9409"/>
                  </a:lnTo>
                  <a:lnTo>
                    <a:pt x="78341" y="8898"/>
                  </a:lnTo>
                  <a:lnTo>
                    <a:pt x="76500" y="8898"/>
                  </a:lnTo>
                  <a:lnTo>
                    <a:pt x="77011" y="8591"/>
                  </a:lnTo>
                  <a:lnTo>
                    <a:pt x="75886" y="9000"/>
                  </a:lnTo>
                  <a:lnTo>
                    <a:pt x="76398" y="8693"/>
                  </a:lnTo>
                  <a:lnTo>
                    <a:pt x="76091" y="8693"/>
                  </a:lnTo>
                  <a:lnTo>
                    <a:pt x="76807" y="8386"/>
                  </a:lnTo>
                  <a:lnTo>
                    <a:pt x="76807" y="8386"/>
                  </a:lnTo>
                  <a:lnTo>
                    <a:pt x="75580" y="8591"/>
                  </a:lnTo>
                  <a:lnTo>
                    <a:pt x="75580" y="8591"/>
                  </a:lnTo>
                  <a:lnTo>
                    <a:pt x="76500" y="8182"/>
                  </a:lnTo>
                  <a:lnTo>
                    <a:pt x="74761" y="7875"/>
                  </a:lnTo>
                  <a:lnTo>
                    <a:pt x="74761" y="7875"/>
                  </a:lnTo>
                  <a:lnTo>
                    <a:pt x="74864" y="8182"/>
                  </a:lnTo>
                  <a:lnTo>
                    <a:pt x="74045" y="8489"/>
                  </a:lnTo>
                  <a:lnTo>
                    <a:pt x="73739" y="8080"/>
                  </a:lnTo>
                  <a:lnTo>
                    <a:pt x="72511" y="8489"/>
                  </a:lnTo>
                  <a:lnTo>
                    <a:pt x="72818" y="8284"/>
                  </a:lnTo>
                  <a:lnTo>
                    <a:pt x="72716" y="8182"/>
                  </a:lnTo>
                  <a:lnTo>
                    <a:pt x="73125" y="7977"/>
                  </a:lnTo>
                  <a:lnTo>
                    <a:pt x="72614" y="8182"/>
                  </a:lnTo>
                  <a:lnTo>
                    <a:pt x="73534" y="7773"/>
                  </a:lnTo>
                  <a:lnTo>
                    <a:pt x="73227" y="6955"/>
                  </a:lnTo>
                  <a:close/>
                  <a:moveTo>
                    <a:pt x="103500" y="0"/>
                  </a:moveTo>
                  <a:lnTo>
                    <a:pt x="103807" y="102"/>
                  </a:lnTo>
                  <a:lnTo>
                    <a:pt x="99205" y="205"/>
                  </a:lnTo>
                  <a:lnTo>
                    <a:pt x="101864" y="307"/>
                  </a:lnTo>
                  <a:lnTo>
                    <a:pt x="99614" y="409"/>
                  </a:lnTo>
                  <a:lnTo>
                    <a:pt x="100125" y="511"/>
                  </a:lnTo>
                  <a:lnTo>
                    <a:pt x="99818" y="818"/>
                  </a:lnTo>
                  <a:lnTo>
                    <a:pt x="97057" y="511"/>
                  </a:lnTo>
                  <a:lnTo>
                    <a:pt x="97057" y="818"/>
                  </a:lnTo>
                  <a:lnTo>
                    <a:pt x="94705" y="1023"/>
                  </a:lnTo>
                  <a:lnTo>
                    <a:pt x="94705" y="614"/>
                  </a:lnTo>
                  <a:lnTo>
                    <a:pt x="91841" y="818"/>
                  </a:lnTo>
                  <a:lnTo>
                    <a:pt x="92966" y="1227"/>
                  </a:lnTo>
                  <a:lnTo>
                    <a:pt x="90716" y="920"/>
                  </a:lnTo>
                  <a:lnTo>
                    <a:pt x="86625" y="1841"/>
                  </a:lnTo>
                  <a:lnTo>
                    <a:pt x="86932" y="2148"/>
                  </a:lnTo>
                  <a:lnTo>
                    <a:pt x="87955" y="2045"/>
                  </a:lnTo>
                  <a:lnTo>
                    <a:pt x="87955" y="2045"/>
                  </a:lnTo>
                  <a:lnTo>
                    <a:pt x="81818" y="3477"/>
                  </a:lnTo>
                  <a:lnTo>
                    <a:pt x="83148" y="3682"/>
                  </a:lnTo>
                  <a:lnTo>
                    <a:pt x="82841" y="3784"/>
                  </a:lnTo>
                  <a:lnTo>
                    <a:pt x="85091" y="3989"/>
                  </a:lnTo>
                  <a:lnTo>
                    <a:pt x="82023" y="4295"/>
                  </a:lnTo>
                  <a:lnTo>
                    <a:pt x="82125" y="4398"/>
                  </a:lnTo>
                  <a:lnTo>
                    <a:pt x="82125" y="4500"/>
                  </a:lnTo>
                  <a:lnTo>
                    <a:pt x="83557" y="4602"/>
                  </a:lnTo>
                  <a:lnTo>
                    <a:pt x="82534" y="4807"/>
                  </a:lnTo>
                  <a:lnTo>
                    <a:pt x="88568" y="5318"/>
                  </a:lnTo>
                  <a:lnTo>
                    <a:pt x="88568" y="5625"/>
                  </a:lnTo>
                  <a:lnTo>
                    <a:pt x="89489" y="6341"/>
                  </a:lnTo>
                  <a:lnTo>
                    <a:pt x="88670" y="6648"/>
                  </a:lnTo>
                  <a:lnTo>
                    <a:pt x="89386" y="6750"/>
                  </a:lnTo>
                  <a:lnTo>
                    <a:pt x="89182" y="7057"/>
                  </a:lnTo>
                  <a:lnTo>
                    <a:pt x="89386" y="7466"/>
                  </a:lnTo>
                  <a:lnTo>
                    <a:pt x="89386" y="7568"/>
                  </a:lnTo>
                  <a:lnTo>
                    <a:pt x="89591" y="7773"/>
                  </a:lnTo>
                  <a:lnTo>
                    <a:pt x="88977" y="7977"/>
                  </a:lnTo>
                  <a:lnTo>
                    <a:pt x="89080" y="8080"/>
                  </a:lnTo>
                  <a:lnTo>
                    <a:pt x="88773" y="8182"/>
                  </a:lnTo>
                  <a:lnTo>
                    <a:pt x="88773" y="8182"/>
                  </a:lnTo>
                  <a:lnTo>
                    <a:pt x="89386" y="8080"/>
                  </a:lnTo>
                  <a:lnTo>
                    <a:pt x="88568" y="8795"/>
                  </a:lnTo>
                  <a:lnTo>
                    <a:pt x="90102" y="8489"/>
                  </a:lnTo>
                  <a:lnTo>
                    <a:pt x="90102" y="8591"/>
                  </a:lnTo>
                  <a:lnTo>
                    <a:pt x="90205" y="8591"/>
                  </a:lnTo>
                  <a:lnTo>
                    <a:pt x="90205" y="8693"/>
                  </a:lnTo>
                  <a:lnTo>
                    <a:pt x="91023" y="8693"/>
                  </a:lnTo>
                  <a:lnTo>
                    <a:pt x="90000" y="9102"/>
                  </a:lnTo>
                  <a:lnTo>
                    <a:pt x="91227" y="9205"/>
                  </a:lnTo>
                  <a:lnTo>
                    <a:pt x="90716" y="9205"/>
                  </a:lnTo>
                  <a:lnTo>
                    <a:pt x="91023" y="9409"/>
                  </a:lnTo>
                  <a:lnTo>
                    <a:pt x="91227" y="9716"/>
                  </a:lnTo>
                  <a:lnTo>
                    <a:pt x="88875" y="9614"/>
                  </a:lnTo>
                  <a:lnTo>
                    <a:pt x="91330" y="10125"/>
                  </a:lnTo>
                  <a:lnTo>
                    <a:pt x="90511" y="10739"/>
                  </a:lnTo>
                  <a:lnTo>
                    <a:pt x="91023" y="10739"/>
                  </a:lnTo>
                  <a:lnTo>
                    <a:pt x="90511" y="10841"/>
                  </a:lnTo>
                  <a:lnTo>
                    <a:pt x="90205" y="11148"/>
                  </a:lnTo>
                  <a:lnTo>
                    <a:pt x="90511" y="11148"/>
                  </a:lnTo>
                  <a:lnTo>
                    <a:pt x="88568" y="11557"/>
                  </a:lnTo>
                  <a:lnTo>
                    <a:pt x="90102" y="11455"/>
                  </a:lnTo>
                  <a:lnTo>
                    <a:pt x="88057" y="12170"/>
                  </a:lnTo>
                  <a:lnTo>
                    <a:pt x="90102" y="11966"/>
                  </a:lnTo>
                  <a:lnTo>
                    <a:pt x="89898" y="12068"/>
                  </a:lnTo>
                  <a:lnTo>
                    <a:pt x="90205" y="12273"/>
                  </a:lnTo>
                  <a:lnTo>
                    <a:pt x="88261" y="12273"/>
                  </a:lnTo>
                  <a:lnTo>
                    <a:pt x="87955" y="12784"/>
                  </a:lnTo>
                  <a:lnTo>
                    <a:pt x="88773" y="12784"/>
                  </a:lnTo>
                  <a:lnTo>
                    <a:pt x="87648" y="13500"/>
                  </a:lnTo>
                  <a:lnTo>
                    <a:pt x="89489" y="12784"/>
                  </a:lnTo>
                  <a:lnTo>
                    <a:pt x="89489" y="12784"/>
                  </a:lnTo>
                  <a:lnTo>
                    <a:pt x="87750" y="13602"/>
                  </a:lnTo>
                  <a:lnTo>
                    <a:pt x="87852" y="13602"/>
                  </a:lnTo>
                  <a:lnTo>
                    <a:pt x="87750" y="14011"/>
                  </a:lnTo>
                  <a:lnTo>
                    <a:pt x="89182" y="13807"/>
                  </a:lnTo>
                  <a:lnTo>
                    <a:pt x="88261" y="14114"/>
                  </a:lnTo>
                  <a:lnTo>
                    <a:pt x="88057" y="15239"/>
                  </a:lnTo>
                  <a:lnTo>
                    <a:pt x="88773" y="14727"/>
                  </a:lnTo>
                  <a:lnTo>
                    <a:pt x="89080" y="14318"/>
                  </a:lnTo>
                  <a:lnTo>
                    <a:pt x="89489" y="15034"/>
                  </a:lnTo>
                  <a:lnTo>
                    <a:pt x="88466" y="15034"/>
                  </a:lnTo>
                  <a:lnTo>
                    <a:pt x="88364" y="15341"/>
                  </a:lnTo>
                  <a:lnTo>
                    <a:pt x="89080" y="15136"/>
                  </a:lnTo>
                  <a:lnTo>
                    <a:pt x="88977" y="15239"/>
                  </a:lnTo>
                  <a:lnTo>
                    <a:pt x="89182" y="15239"/>
                  </a:lnTo>
                  <a:lnTo>
                    <a:pt x="88261" y="15443"/>
                  </a:lnTo>
                  <a:lnTo>
                    <a:pt x="88568" y="16466"/>
                  </a:lnTo>
                  <a:lnTo>
                    <a:pt x="89080" y="16261"/>
                  </a:lnTo>
                  <a:lnTo>
                    <a:pt x="88568" y="16773"/>
                  </a:lnTo>
                  <a:lnTo>
                    <a:pt x="89386" y="17182"/>
                  </a:lnTo>
                  <a:lnTo>
                    <a:pt x="88977" y="17591"/>
                  </a:lnTo>
                  <a:lnTo>
                    <a:pt x="89386" y="18205"/>
                  </a:lnTo>
                  <a:lnTo>
                    <a:pt x="89795" y="18205"/>
                  </a:lnTo>
                  <a:lnTo>
                    <a:pt x="89386" y="18409"/>
                  </a:lnTo>
                  <a:lnTo>
                    <a:pt x="89795" y="18409"/>
                  </a:lnTo>
                  <a:lnTo>
                    <a:pt x="89795" y="18307"/>
                  </a:lnTo>
                  <a:lnTo>
                    <a:pt x="91227" y="18000"/>
                  </a:lnTo>
                  <a:lnTo>
                    <a:pt x="91023" y="18614"/>
                  </a:lnTo>
                  <a:lnTo>
                    <a:pt x="91943" y="18511"/>
                  </a:lnTo>
                  <a:lnTo>
                    <a:pt x="91943" y="18511"/>
                  </a:lnTo>
                  <a:lnTo>
                    <a:pt x="91330" y="18920"/>
                  </a:lnTo>
                  <a:lnTo>
                    <a:pt x="91330" y="18920"/>
                  </a:lnTo>
                  <a:lnTo>
                    <a:pt x="92148" y="18818"/>
                  </a:lnTo>
                  <a:lnTo>
                    <a:pt x="92148" y="19227"/>
                  </a:lnTo>
                  <a:lnTo>
                    <a:pt x="92455" y="19227"/>
                  </a:lnTo>
                  <a:lnTo>
                    <a:pt x="92250" y="19125"/>
                  </a:lnTo>
                  <a:lnTo>
                    <a:pt x="92966" y="18920"/>
                  </a:lnTo>
                  <a:lnTo>
                    <a:pt x="92455" y="18614"/>
                  </a:lnTo>
                  <a:lnTo>
                    <a:pt x="93375" y="18409"/>
                  </a:lnTo>
                  <a:lnTo>
                    <a:pt x="93989" y="17591"/>
                  </a:lnTo>
                  <a:lnTo>
                    <a:pt x="93784" y="17489"/>
                  </a:lnTo>
                  <a:lnTo>
                    <a:pt x="94091" y="17386"/>
                  </a:lnTo>
                  <a:lnTo>
                    <a:pt x="94295" y="16670"/>
                  </a:lnTo>
                  <a:lnTo>
                    <a:pt x="93784" y="16568"/>
                  </a:lnTo>
                  <a:lnTo>
                    <a:pt x="94807" y="16364"/>
                  </a:lnTo>
                  <a:lnTo>
                    <a:pt x="94500" y="16159"/>
                  </a:lnTo>
                  <a:lnTo>
                    <a:pt x="95830" y="15648"/>
                  </a:lnTo>
                  <a:lnTo>
                    <a:pt x="95830" y="15239"/>
                  </a:lnTo>
                  <a:lnTo>
                    <a:pt x="95216" y="15136"/>
                  </a:lnTo>
                  <a:lnTo>
                    <a:pt x="96136" y="15034"/>
                  </a:lnTo>
                  <a:lnTo>
                    <a:pt x="95830" y="14625"/>
                  </a:lnTo>
                  <a:lnTo>
                    <a:pt x="96955" y="14216"/>
                  </a:lnTo>
                  <a:lnTo>
                    <a:pt x="96545" y="14011"/>
                  </a:lnTo>
                  <a:lnTo>
                    <a:pt x="98489" y="13398"/>
                  </a:lnTo>
                  <a:lnTo>
                    <a:pt x="98182" y="13295"/>
                  </a:lnTo>
                  <a:lnTo>
                    <a:pt x="98795" y="13295"/>
                  </a:lnTo>
                  <a:lnTo>
                    <a:pt x="98386" y="13909"/>
                  </a:lnTo>
                  <a:lnTo>
                    <a:pt x="99205" y="13602"/>
                  </a:lnTo>
                  <a:lnTo>
                    <a:pt x="99307" y="13705"/>
                  </a:lnTo>
                  <a:lnTo>
                    <a:pt x="102580" y="11659"/>
                  </a:lnTo>
                  <a:lnTo>
                    <a:pt x="102682" y="11455"/>
                  </a:lnTo>
                  <a:lnTo>
                    <a:pt x="109125" y="10227"/>
                  </a:lnTo>
                  <a:lnTo>
                    <a:pt x="109023" y="10227"/>
                  </a:lnTo>
                  <a:lnTo>
                    <a:pt x="109636" y="10023"/>
                  </a:lnTo>
                  <a:lnTo>
                    <a:pt x="106159" y="10023"/>
                  </a:lnTo>
                  <a:lnTo>
                    <a:pt x="106977" y="9716"/>
                  </a:lnTo>
                  <a:lnTo>
                    <a:pt x="105239" y="9716"/>
                  </a:lnTo>
                  <a:lnTo>
                    <a:pt x="105852" y="9205"/>
                  </a:lnTo>
                  <a:lnTo>
                    <a:pt x="107386" y="9205"/>
                  </a:lnTo>
                  <a:lnTo>
                    <a:pt x="106773" y="8693"/>
                  </a:lnTo>
                  <a:lnTo>
                    <a:pt x="108409" y="9102"/>
                  </a:lnTo>
                  <a:lnTo>
                    <a:pt x="109023" y="9716"/>
                  </a:lnTo>
                  <a:lnTo>
                    <a:pt x="109636" y="9307"/>
                  </a:lnTo>
                  <a:lnTo>
                    <a:pt x="109636" y="9716"/>
                  </a:lnTo>
                  <a:lnTo>
                    <a:pt x="110148" y="9307"/>
                  </a:lnTo>
                  <a:lnTo>
                    <a:pt x="110148" y="8795"/>
                  </a:lnTo>
                  <a:lnTo>
                    <a:pt x="109739" y="9000"/>
                  </a:lnTo>
                  <a:lnTo>
                    <a:pt x="110148" y="8591"/>
                  </a:lnTo>
                  <a:lnTo>
                    <a:pt x="108205" y="8080"/>
                  </a:lnTo>
                  <a:lnTo>
                    <a:pt x="108511" y="7977"/>
                  </a:lnTo>
                  <a:lnTo>
                    <a:pt x="108307" y="7670"/>
                  </a:lnTo>
                  <a:lnTo>
                    <a:pt x="107284" y="7773"/>
                  </a:lnTo>
                  <a:lnTo>
                    <a:pt x="107284" y="7773"/>
                  </a:lnTo>
                  <a:lnTo>
                    <a:pt x="108211" y="7587"/>
                  </a:lnTo>
                  <a:lnTo>
                    <a:pt x="108211" y="7587"/>
                  </a:lnTo>
                  <a:lnTo>
                    <a:pt x="106875" y="7466"/>
                  </a:lnTo>
                  <a:lnTo>
                    <a:pt x="107489" y="7364"/>
                  </a:lnTo>
                  <a:lnTo>
                    <a:pt x="107080" y="7159"/>
                  </a:lnTo>
                  <a:lnTo>
                    <a:pt x="108716" y="7159"/>
                  </a:lnTo>
                  <a:lnTo>
                    <a:pt x="108307" y="6852"/>
                  </a:lnTo>
                  <a:lnTo>
                    <a:pt x="111375" y="7159"/>
                  </a:lnTo>
                  <a:lnTo>
                    <a:pt x="111068" y="6750"/>
                  </a:lnTo>
                  <a:lnTo>
                    <a:pt x="110352" y="6750"/>
                  </a:lnTo>
                  <a:lnTo>
                    <a:pt x="110352" y="6545"/>
                  </a:lnTo>
                  <a:lnTo>
                    <a:pt x="110659" y="6239"/>
                  </a:lnTo>
                  <a:lnTo>
                    <a:pt x="110557" y="6545"/>
                  </a:lnTo>
                  <a:lnTo>
                    <a:pt x="112295" y="6443"/>
                  </a:lnTo>
                  <a:lnTo>
                    <a:pt x="111989" y="6034"/>
                  </a:lnTo>
                  <a:lnTo>
                    <a:pt x="111273" y="6239"/>
                  </a:lnTo>
                  <a:lnTo>
                    <a:pt x="111273" y="5830"/>
                  </a:lnTo>
                  <a:lnTo>
                    <a:pt x="110557" y="5830"/>
                  </a:lnTo>
                  <a:lnTo>
                    <a:pt x="111784" y="5727"/>
                  </a:lnTo>
                  <a:lnTo>
                    <a:pt x="112091" y="5830"/>
                  </a:lnTo>
                  <a:lnTo>
                    <a:pt x="112193" y="5011"/>
                  </a:lnTo>
                  <a:lnTo>
                    <a:pt x="111375" y="4909"/>
                  </a:lnTo>
                  <a:lnTo>
                    <a:pt x="111068" y="4705"/>
                  </a:lnTo>
                  <a:lnTo>
                    <a:pt x="110659" y="4602"/>
                  </a:lnTo>
                  <a:lnTo>
                    <a:pt x="113011" y="4500"/>
                  </a:lnTo>
                  <a:lnTo>
                    <a:pt x="113216" y="4091"/>
                  </a:lnTo>
                  <a:lnTo>
                    <a:pt x="111989" y="3886"/>
                  </a:lnTo>
                  <a:lnTo>
                    <a:pt x="112807" y="3886"/>
                  </a:lnTo>
                  <a:lnTo>
                    <a:pt x="111580" y="3784"/>
                  </a:lnTo>
                  <a:lnTo>
                    <a:pt x="112091" y="3170"/>
                  </a:lnTo>
                  <a:lnTo>
                    <a:pt x="111989" y="3068"/>
                  </a:lnTo>
                  <a:lnTo>
                    <a:pt x="113114" y="2557"/>
                  </a:lnTo>
                  <a:lnTo>
                    <a:pt x="112909" y="2352"/>
                  </a:lnTo>
                  <a:lnTo>
                    <a:pt x="113216" y="1943"/>
                  </a:lnTo>
                  <a:lnTo>
                    <a:pt x="115261" y="1841"/>
                  </a:lnTo>
                  <a:lnTo>
                    <a:pt x="114750" y="1739"/>
                  </a:lnTo>
                  <a:lnTo>
                    <a:pt x="116284" y="1534"/>
                  </a:lnTo>
                  <a:lnTo>
                    <a:pt x="116080" y="1432"/>
                  </a:lnTo>
                  <a:lnTo>
                    <a:pt x="117818" y="1125"/>
                  </a:lnTo>
                  <a:lnTo>
                    <a:pt x="111273" y="1636"/>
                  </a:lnTo>
                  <a:lnTo>
                    <a:pt x="111273" y="1636"/>
                  </a:lnTo>
                  <a:lnTo>
                    <a:pt x="112398" y="1125"/>
                  </a:lnTo>
                  <a:lnTo>
                    <a:pt x="107898" y="818"/>
                  </a:lnTo>
                  <a:lnTo>
                    <a:pt x="112500" y="409"/>
                  </a:lnTo>
                  <a:lnTo>
                    <a:pt x="106977" y="205"/>
                  </a:lnTo>
                  <a:lnTo>
                    <a:pt x="110352" y="0"/>
                  </a:lnTo>
                  <a:close/>
                  <a:moveTo>
                    <a:pt x="5114" y="22807"/>
                  </a:moveTo>
                  <a:lnTo>
                    <a:pt x="5069" y="22823"/>
                  </a:lnTo>
                  <a:lnTo>
                    <a:pt x="5069" y="22823"/>
                  </a:lnTo>
                  <a:lnTo>
                    <a:pt x="5011" y="22909"/>
                  </a:lnTo>
                  <a:lnTo>
                    <a:pt x="5114" y="22807"/>
                  </a:lnTo>
                  <a:close/>
                  <a:moveTo>
                    <a:pt x="133057" y="23011"/>
                  </a:moveTo>
                  <a:lnTo>
                    <a:pt x="132955" y="23216"/>
                  </a:lnTo>
                  <a:lnTo>
                    <a:pt x="132443" y="23216"/>
                  </a:lnTo>
                  <a:lnTo>
                    <a:pt x="132955" y="23727"/>
                  </a:lnTo>
                  <a:lnTo>
                    <a:pt x="133261" y="23727"/>
                  </a:lnTo>
                  <a:lnTo>
                    <a:pt x="133568" y="23216"/>
                  </a:lnTo>
                  <a:lnTo>
                    <a:pt x="133057" y="23011"/>
                  </a:lnTo>
                  <a:close/>
                  <a:moveTo>
                    <a:pt x="1125" y="23625"/>
                  </a:moveTo>
                  <a:lnTo>
                    <a:pt x="102" y="24034"/>
                  </a:lnTo>
                  <a:lnTo>
                    <a:pt x="1120" y="23634"/>
                  </a:lnTo>
                  <a:lnTo>
                    <a:pt x="1120" y="23634"/>
                  </a:lnTo>
                  <a:lnTo>
                    <a:pt x="1125" y="23625"/>
                  </a:lnTo>
                  <a:close/>
                  <a:moveTo>
                    <a:pt x="102" y="24034"/>
                  </a:moveTo>
                  <a:lnTo>
                    <a:pt x="102" y="24034"/>
                  </a:lnTo>
                  <a:lnTo>
                    <a:pt x="102" y="24034"/>
                  </a:lnTo>
                  <a:close/>
                  <a:moveTo>
                    <a:pt x="138170" y="24136"/>
                  </a:moveTo>
                  <a:lnTo>
                    <a:pt x="138375" y="24239"/>
                  </a:lnTo>
                  <a:lnTo>
                    <a:pt x="138477" y="24239"/>
                  </a:lnTo>
                  <a:lnTo>
                    <a:pt x="138170" y="24136"/>
                  </a:lnTo>
                  <a:close/>
                  <a:moveTo>
                    <a:pt x="118534" y="23523"/>
                  </a:moveTo>
                  <a:lnTo>
                    <a:pt x="118636" y="23625"/>
                  </a:lnTo>
                  <a:lnTo>
                    <a:pt x="118330" y="23932"/>
                  </a:lnTo>
                  <a:lnTo>
                    <a:pt x="118330" y="23727"/>
                  </a:lnTo>
                  <a:lnTo>
                    <a:pt x="117818" y="23830"/>
                  </a:lnTo>
                  <a:lnTo>
                    <a:pt x="117511" y="24239"/>
                  </a:lnTo>
                  <a:lnTo>
                    <a:pt x="117920" y="24239"/>
                  </a:lnTo>
                  <a:lnTo>
                    <a:pt x="117614" y="24648"/>
                  </a:lnTo>
                  <a:lnTo>
                    <a:pt x="116489" y="24750"/>
                  </a:lnTo>
                  <a:lnTo>
                    <a:pt x="116591" y="24852"/>
                  </a:lnTo>
                  <a:lnTo>
                    <a:pt x="116591" y="25057"/>
                  </a:lnTo>
                  <a:lnTo>
                    <a:pt x="116795" y="24955"/>
                  </a:lnTo>
                  <a:lnTo>
                    <a:pt x="116693" y="25261"/>
                  </a:lnTo>
                  <a:lnTo>
                    <a:pt x="116386" y="25364"/>
                  </a:lnTo>
                  <a:lnTo>
                    <a:pt x="116386" y="25466"/>
                  </a:lnTo>
                  <a:lnTo>
                    <a:pt x="116591" y="25466"/>
                  </a:lnTo>
                  <a:lnTo>
                    <a:pt x="116591" y="25568"/>
                  </a:lnTo>
                  <a:lnTo>
                    <a:pt x="117307" y="25670"/>
                  </a:lnTo>
                  <a:lnTo>
                    <a:pt x="116489" y="26284"/>
                  </a:lnTo>
                  <a:lnTo>
                    <a:pt x="116489" y="26284"/>
                  </a:lnTo>
                  <a:lnTo>
                    <a:pt x="117409" y="26182"/>
                  </a:lnTo>
                  <a:lnTo>
                    <a:pt x="116489" y="26489"/>
                  </a:lnTo>
                  <a:lnTo>
                    <a:pt x="116591" y="26591"/>
                  </a:lnTo>
                  <a:lnTo>
                    <a:pt x="116080" y="26693"/>
                  </a:lnTo>
                  <a:lnTo>
                    <a:pt x="116489" y="26693"/>
                  </a:lnTo>
                  <a:lnTo>
                    <a:pt x="116080" y="27000"/>
                  </a:lnTo>
                  <a:lnTo>
                    <a:pt x="116693" y="27000"/>
                  </a:lnTo>
                  <a:lnTo>
                    <a:pt x="116284" y="27205"/>
                  </a:lnTo>
                  <a:lnTo>
                    <a:pt x="116284" y="27205"/>
                  </a:lnTo>
                  <a:lnTo>
                    <a:pt x="116693" y="27102"/>
                  </a:lnTo>
                  <a:lnTo>
                    <a:pt x="116489" y="27307"/>
                  </a:lnTo>
                  <a:lnTo>
                    <a:pt x="119250" y="26591"/>
                  </a:lnTo>
                  <a:lnTo>
                    <a:pt x="119148" y="26489"/>
                  </a:lnTo>
                  <a:lnTo>
                    <a:pt x="119455" y="24852"/>
                  </a:lnTo>
                  <a:lnTo>
                    <a:pt x="119352" y="24750"/>
                  </a:lnTo>
                  <a:lnTo>
                    <a:pt x="119966" y="24545"/>
                  </a:lnTo>
                  <a:lnTo>
                    <a:pt x="119864" y="24341"/>
                  </a:lnTo>
                  <a:lnTo>
                    <a:pt x="119659" y="24239"/>
                  </a:lnTo>
                  <a:lnTo>
                    <a:pt x="119455" y="23727"/>
                  </a:lnTo>
                  <a:lnTo>
                    <a:pt x="118636" y="23830"/>
                  </a:lnTo>
                  <a:lnTo>
                    <a:pt x="118841" y="23625"/>
                  </a:lnTo>
                  <a:lnTo>
                    <a:pt x="118534" y="23523"/>
                  </a:lnTo>
                  <a:close/>
                  <a:moveTo>
                    <a:pt x="121398" y="20455"/>
                  </a:moveTo>
                  <a:lnTo>
                    <a:pt x="120477" y="20761"/>
                  </a:lnTo>
                  <a:lnTo>
                    <a:pt x="119966" y="21682"/>
                  </a:lnTo>
                  <a:lnTo>
                    <a:pt x="119761" y="22091"/>
                  </a:lnTo>
                  <a:lnTo>
                    <a:pt x="119864" y="22091"/>
                  </a:lnTo>
                  <a:lnTo>
                    <a:pt x="119557" y="22295"/>
                  </a:lnTo>
                  <a:lnTo>
                    <a:pt x="120273" y="22193"/>
                  </a:lnTo>
                  <a:lnTo>
                    <a:pt x="119966" y="23523"/>
                  </a:lnTo>
                  <a:lnTo>
                    <a:pt x="120170" y="23011"/>
                  </a:lnTo>
                  <a:lnTo>
                    <a:pt x="120580" y="22807"/>
                  </a:lnTo>
                  <a:lnTo>
                    <a:pt x="120682" y="23011"/>
                  </a:lnTo>
                  <a:lnTo>
                    <a:pt x="120375" y="24239"/>
                  </a:lnTo>
                  <a:lnTo>
                    <a:pt x="121807" y="23932"/>
                  </a:lnTo>
                  <a:lnTo>
                    <a:pt x="122011" y="25568"/>
                  </a:lnTo>
                  <a:lnTo>
                    <a:pt x="120580" y="26080"/>
                  </a:lnTo>
                  <a:lnTo>
                    <a:pt x="120580" y="26080"/>
                  </a:lnTo>
                  <a:lnTo>
                    <a:pt x="120989" y="25977"/>
                  </a:lnTo>
                  <a:lnTo>
                    <a:pt x="121091" y="26284"/>
                  </a:lnTo>
                  <a:lnTo>
                    <a:pt x="120068" y="27000"/>
                  </a:lnTo>
                  <a:lnTo>
                    <a:pt x="120989" y="27205"/>
                  </a:lnTo>
                  <a:lnTo>
                    <a:pt x="120886" y="27307"/>
                  </a:lnTo>
                  <a:lnTo>
                    <a:pt x="121602" y="27409"/>
                  </a:lnTo>
                  <a:lnTo>
                    <a:pt x="122216" y="27102"/>
                  </a:lnTo>
                  <a:lnTo>
                    <a:pt x="121602" y="27614"/>
                  </a:lnTo>
                  <a:lnTo>
                    <a:pt x="120989" y="27614"/>
                  </a:lnTo>
                  <a:lnTo>
                    <a:pt x="119761" y="28739"/>
                  </a:lnTo>
                  <a:lnTo>
                    <a:pt x="120068" y="28841"/>
                  </a:lnTo>
                  <a:lnTo>
                    <a:pt x="120375" y="28534"/>
                  </a:lnTo>
                  <a:lnTo>
                    <a:pt x="121091" y="28534"/>
                  </a:lnTo>
                  <a:lnTo>
                    <a:pt x="121807" y="28125"/>
                  </a:lnTo>
                  <a:lnTo>
                    <a:pt x="122625" y="28227"/>
                  </a:lnTo>
                  <a:lnTo>
                    <a:pt x="122523" y="28125"/>
                  </a:lnTo>
                  <a:lnTo>
                    <a:pt x="123136" y="28023"/>
                  </a:lnTo>
                  <a:lnTo>
                    <a:pt x="123034" y="27920"/>
                  </a:lnTo>
                  <a:lnTo>
                    <a:pt x="124773" y="27920"/>
                  </a:lnTo>
                  <a:lnTo>
                    <a:pt x="125182" y="27409"/>
                  </a:lnTo>
                  <a:lnTo>
                    <a:pt x="124466" y="27409"/>
                  </a:lnTo>
                  <a:lnTo>
                    <a:pt x="125080" y="26898"/>
                  </a:lnTo>
                  <a:lnTo>
                    <a:pt x="125284" y="25977"/>
                  </a:lnTo>
                  <a:lnTo>
                    <a:pt x="124159" y="25977"/>
                  </a:lnTo>
                  <a:lnTo>
                    <a:pt x="123648" y="25159"/>
                  </a:lnTo>
                  <a:lnTo>
                    <a:pt x="124261" y="25261"/>
                  </a:lnTo>
                  <a:lnTo>
                    <a:pt x="124261" y="25261"/>
                  </a:lnTo>
                  <a:lnTo>
                    <a:pt x="124057" y="24750"/>
                  </a:lnTo>
                  <a:lnTo>
                    <a:pt x="123239" y="24239"/>
                  </a:lnTo>
                  <a:lnTo>
                    <a:pt x="122932" y="23420"/>
                  </a:lnTo>
                  <a:lnTo>
                    <a:pt x="121295" y="22807"/>
                  </a:lnTo>
                  <a:lnTo>
                    <a:pt x="122011" y="22705"/>
                  </a:lnTo>
                  <a:lnTo>
                    <a:pt x="121705" y="22602"/>
                  </a:lnTo>
                  <a:lnTo>
                    <a:pt x="122318" y="22295"/>
                  </a:lnTo>
                  <a:lnTo>
                    <a:pt x="122830" y="21580"/>
                  </a:lnTo>
                  <a:lnTo>
                    <a:pt x="121091" y="21375"/>
                  </a:lnTo>
                  <a:lnTo>
                    <a:pt x="121295" y="21170"/>
                  </a:lnTo>
                  <a:lnTo>
                    <a:pt x="121193" y="21170"/>
                  </a:lnTo>
                  <a:lnTo>
                    <a:pt x="121807" y="20659"/>
                  </a:lnTo>
                  <a:lnTo>
                    <a:pt x="121398" y="20455"/>
                  </a:lnTo>
                  <a:close/>
                  <a:moveTo>
                    <a:pt x="23830" y="27920"/>
                  </a:moveTo>
                  <a:lnTo>
                    <a:pt x="23523" y="28330"/>
                  </a:lnTo>
                  <a:lnTo>
                    <a:pt x="24034" y="28227"/>
                  </a:lnTo>
                  <a:lnTo>
                    <a:pt x="23932" y="28432"/>
                  </a:lnTo>
                  <a:lnTo>
                    <a:pt x="23523" y="28534"/>
                  </a:lnTo>
                  <a:lnTo>
                    <a:pt x="23625" y="28534"/>
                  </a:lnTo>
                  <a:lnTo>
                    <a:pt x="23420" y="28739"/>
                  </a:lnTo>
                  <a:lnTo>
                    <a:pt x="23830" y="28739"/>
                  </a:lnTo>
                  <a:lnTo>
                    <a:pt x="23932" y="28636"/>
                  </a:lnTo>
                  <a:lnTo>
                    <a:pt x="24034" y="28943"/>
                  </a:lnTo>
                  <a:lnTo>
                    <a:pt x="24443" y="29148"/>
                  </a:lnTo>
                  <a:lnTo>
                    <a:pt x="24034" y="29455"/>
                  </a:lnTo>
                  <a:lnTo>
                    <a:pt x="24443" y="29455"/>
                  </a:lnTo>
                  <a:lnTo>
                    <a:pt x="24341" y="29557"/>
                  </a:lnTo>
                  <a:lnTo>
                    <a:pt x="24545" y="29659"/>
                  </a:lnTo>
                  <a:lnTo>
                    <a:pt x="24341" y="29761"/>
                  </a:lnTo>
                  <a:lnTo>
                    <a:pt x="25261" y="29557"/>
                  </a:lnTo>
                  <a:lnTo>
                    <a:pt x="25057" y="30273"/>
                  </a:lnTo>
                  <a:lnTo>
                    <a:pt x="25057" y="30273"/>
                  </a:lnTo>
                  <a:lnTo>
                    <a:pt x="25875" y="30170"/>
                  </a:lnTo>
                  <a:lnTo>
                    <a:pt x="25466" y="28534"/>
                  </a:lnTo>
                  <a:lnTo>
                    <a:pt x="23830" y="27920"/>
                  </a:lnTo>
                  <a:close/>
                  <a:moveTo>
                    <a:pt x="25875" y="30170"/>
                  </a:moveTo>
                  <a:lnTo>
                    <a:pt x="25875" y="30273"/>
                  </a:lnTo>
                  <a:lnTo>
                    <a:pt x="25977" y="30170"/>
                  </a:lnTo>
                  <a:close/>
                  <a:moveTo>
                    <a:pt x="72102" y="30989"/>
                  </a:moveTo>
                  <a:lnTo>
                    <a:pt x="72146" y="31003"/>
                  </a:lnTo>
                  <a:lnTo>
                    <a:pt x="72146" y="31003"/>
                  </a:lnTo>
                  <a:lnTo>
                    <a:pt x="72205" y="30989"/>
                  </a:lnTo>
                  <a:close/>
                  <a:moveTo>
                    <a:pt x="25568" y="31398"/>
                  </a:moveTo>
                  <a:lnTo>
                    <a:pt x="25364" y="31500"/>
                  </a:lnTo>
                  <a:lnTo>
                    <a:pt x="25364" y="31500"/>
                  </a:lnTo>
                  <a:lnTo>
                    <a:pt x="25466" y="31398"/>
                  </a:lnTo>
                  <a:close/>
                  <a:moveTo>
                    <a:pt x="80386" y="31500"/>
                  </a:moveTo>
                  <a:lnTo>
                    <a:pt x="80386" y="31500"/>
                  </a:lnTo>
                  <a:lnTo>
                    <a:pt x="80386" y="31500"/>
                  </a:lnTo>
                  <a:close/>
                  <a:moveTo>
                    <a:pt x="80693" y="27307"/>
                  </a:moveTo>
                  <a:lnTo>
                    <a:pt x="80182" y="27409"/>
                  </a:lnTo>
                  <a:lnTo>
                    <a:pt x="78136" y="29864"/>
                  </a:lnTo>
                  <a:lnTo>
                    <a:pt x="77625" y="29966"/>
                  </a:lnTo>
                  <a:lnTo>
                    <a:pt x="77318" y="30170"/>
                  </a:lnTo>
                  <a:lnTo>
                    <a:pt x="77420" y="30068"/>
                  </a:lnTo>
                  <a:lnTo>
                    <a:pt x="77011" y="30273"/>
                  </a:lnTo>
                  <a:lnTo>
                    <a:pt x="77727" y="30273"/>
                  </a:lnTo>
                  <a:lnTo>
                    <a:pt x="76705" y="30989"/>
                  </a:lnTo>
                  <a:lnTo>
                    <a:pt x="79466" y="30989"/>
                  </a:lnTo>
                  <a:lnTo>
                    <a:pt x="79159" y="31295"/>
                  </a:lnTo>
                  <a:lnTo>
                    <a:pt x="80284" y="31193"/>
                  </a:lnTo>
                  <a:lnTo>
                    <a:pt x="79261" y="32011"/>
                  </a:lnTo>
                  <a:lnTo>
                    <a:pt x="80489" y="31295"/>
                  </a:lnTo>
                  <a:lnTo>
                    <a:pt x="80386" y="31500"/>
                  </a:lnTo>
                  <a:lnTo>
                    <a:pt x="80795" y="30989"/>
                  </a:lnTo>
                  <a:lnTo>
                    <a:pt x="81000" y="31398"/>
                  </a:lnTo>
                  <a:lnTo>
                    <a:pt x="80591" y="32011"/>
                  </a:lnTo>
                  <a:lnTo>
                    <a:pt x="81102" y="31705"/>
                  </a:lnTo>
                  <a:lnTo>
                    <a:pt x="81000" y="32216"/>
                  </a:lnTo>
                  <a:lnTo>
                    <a:pt x="81000" y="32216"/>
                  </a:lnTo>
                  <a:lnTo>
                    <a:pt x="81409" y="32114"/>
                  </a:lnTo>
                  <a:lnTo>
                    <a:pt x="81920" y="31091"/>
                  </a:lnTo>
                  <a:lnTo>
                    <a:pt x="81511" y="31398"/>
                  </a:lnTo>
                  <a:lnTo>
                    <a:pt x="81920" y="30682"/>
                  </a:lnTo>
                  <a:lnTo>
                    <a:pt x="81205" y="31193"/>
                  </a:lnTo>
                  <a:lnTo>
                    <a:pt x="81205" y="31193"/>
                  </a:lnTo>
                  <a:lnTo>
                    <a:pt x="81307" y="30784"/>
                  </a:lnTo>
                  <a:lnTo>
                    <a:pt x="81102" y="30784"/>
                  </a:lnTo>
                  <a:lnTo>
                    <a:pt x="81920" y="30170"/>
                  </a:lnTo>
                  <a:lnTo>
                    <a:pt x="81920" y="30170"/>
                  </a:lnTo>
                  <a:lnTo>
                    <a:pt x="81000" y="30477"/>
                  </a:lnTo>
                  <a:lnTo>
                    <a:pt x="81409" y="30170"/>
                  </a:lnTo>
                  <a:lnTo>
                    <a:pt x="81205" y="30068"/>
                  </a:lnTo>
                  <a:lnTo>
                    <a:pt x="81307" y="29966"/>
                  </a:lnTo>
                  <a:lnTo>
                    <a:pt x="81102" y="30068"/>
                  </a:lnTo>
                  <a:lnTo>
                    <a:pt x="81716" y="29557"/>
                  </a:lnTo>
                  <a:lnTo>
                    <a:pt x="81000" y="29455"/>
                  </a:lnTo>
                  <a:lnTo>
                    <a:pt x="81102" y="29250"/>
                  </a:lnTo>
                  <a:lnTo>
                    <a:pt x="80284" y="29761"/>
                  </a:lnTo>
                  <a:lnTo>
                    <a:pt x="80489" y="29250"/>
                  </a:lnTo>
                  <a:lnTo>
                    <a:pt x="80489" y="29250"/>
                  </a:lnTo>
                  <a:lnTo>
                    <a:pt x="80284" y="29455"/>
                  </a:lnTo>
                  <a:lnTo>
                    <a:pt x="80386" y="29352"/>
                  </a:lnTo>
                  <a:lnTo>
                    <a:pt x="79773" y="29352"/>
                  </a:lnTo>
                  <a:lnTo>
                    <a:pt x="79977" y="29148"/>
                  </a:lnTo>
                  <a:lnTo>
                    <a:pt x="79773" y="29250"/>
                  </a:lnTo>
                  <a:lnTo>
                    <a:pt x="80386" y="28841"/>
                  </a:lnTo>
                  <a:lnTo>
                    <a:pt x="79261" y="29250"/>
                  </a:lnTo>
                  <a:lnTo>
                    <a:pt x="80489" y="27716"/>
                  </a:lnTo>
                  <a:lnTo>
                    <a:pt x="80591" y="27511"/>
                  </a:lnTo>
                  <a:lnTo>
                    <a:pt x="80898" y="27307"/>
                  </a:lnTo>
                  <a:close/>
                  <a:moveTo>
                    <a:pt x="239523" y="32216"/>
                  </a:moveTo>
                  <a:lnTo>
                    <a:pt x="240239" y="32830"/>
                  </a:lnTo>
                  <a:lnTo>
                    <a:pt x="239727" y="32318"/>
                  </a:lnTo>
                  <a:lnTo>
                    <a:pt x="239523" y="32216"/>
                  </a:lnTo>
                  <a:close/>
                  <a:moveTo>
                    <a:pt x="232875" y="24443"/>
                  </a:moveTo>
                  <a:lnTo>
                    <a:pt x="232773" y="24648"/>
                  </a:lnTo>
                  <a:lnTo>
                    <a:pt x="233591" y="25159"/>
                  </a:lnTo>
                  <a:lnTo>
                    <a:pt x="233489" y="25261"/>
                  </a:lnTo>
                  <a:lnTo>
                    <a:pt x="233386" y="25364"/>
                  </a:lnTo>
                  <a:lnTo>
                    <a:pt x="234511" y="27102"/>
                  </a:lnTo>
                  <a:lnTo>
                    <a:pt x="239216" y="32932"/>
                  </a:lnTo>
                  <a:lnTo>
                    <a:pt x="239114" y="32114"/>
                  </a:lnTo>
                  <a:lnTo>
                    <a:pt x="239523" y="32216"/>
                  </a:lnTo>
                  <a:lnTo>
                    <a:pt x="239523" y="32216"/>
                  </a:lnTo>
                  <a:lnTo>
                    <a:pt x="238193" y="31091"/>
                  </a:lnTo>
                  <a:lnTo>
                    <a:pt x="237784" y="29557"/>
                  </a:lnTo>
                  <a:lnTo>
                    <a:pt x="239318" y="30170"/>
                  </a:lnTo>
                  <a:lnTo>
                    <a:pt x="232875" y="24443"/>
                  </a:lnTo>
                  <a:close/>
                  <a:moveTo>
                    <a:pt x="244841" y="33341"/>
                  </a:moveTo>
                  <a:lnTo>
                    <a:pt x="244330" y="33443"/>
                  </a:lnTo>
                  <a:lnTo>
                    <a:pt x="244432" y="33648"/>
                  </a:lnTo>
                  <a:lnTo>
                    <a:pt x="244125" y="34364"/>
                  </a:lnTo>
                  <a:lnTo>
                    <a:pt x="244125" y="34466"/>
                  </a:lnTo>
                  <a:lnTo>
                    <a:pt x="244330" y="33955"/>
                  </a:lnTo>
                  <a:lnTo>
                    <a:pt x="245045" y="33545"/>
                  </a:lnTo>
                  <a:lnTo>
                    <a:pt x="244841" y="33341"/>
                  </a:lnTo>
                  <a:close/>
                  <a:moveTo>
                    <a:pt x="243409" y="34466"/>
                  </a:moveTo>
                  <a:lnTo>
                    <a:pt x="243409" y="35080"/>
                  </a:lnTo>
                  <a:lnTo>
                    <a:pt x="243614" y="35284"/>
                  </a:lnTo>
                  <a:lnTo>
                    <a:pt x="243920" y="34466"/>
                  </a:lnTo>
                  <a:close/>
                  <a:moveTo>
                    <a:pt x="54102" y="29864"/>
                  </a:moveTo>
                  <a:lnTo>
                    <a:pt x="56352" y="30886"/>
                  </a:lnTo>
                  <a:lnTo>
                    <a:pt x="56045" y="31193"/>
                  </a:lnTo>
                  <a:lnTo>
                    <a:pt x="56250" y="31602"/>
                  </a:lnTo>
                  <a:lnTo>
                    <a:pt x="56045" y="31807"/>
                  </a:lnTo>
                  <a:lnTo>
                    <a:pt x="56250" y="32011"/>
                  </a:lnTo>
                  <a:lnTo>
                    <a:pt x="56045" y="32114"/>
                  </a:lnTo>
                  <a:lnTo>
                    <a:pt x="56148" y="32114"/>
                  </a:lnTo>
                  <a:lnTo>
                    <a:pt x="55943" y="32318"/>
                  </a:lnTo>
                  <a:lnTo>
                    <a:pt x="58193" y="32727"/>
                  </a:lnTo>
                  <a:lnTo>
                    <a:pt x="58091" y="32830"/>
                  </a:lnTo>
                  <a:lnTo>
                    <a:pt x="58500" y="32830"/>
                  </a:lnTo>
                  <a:lnTo>
                    <a:pt x="58500" y="32932"/>
                  </a:lnTo>
                  <a:lnTo>
                    <a:pt x="58909" y="33239"/>
                  </a:lnTo>
                  <a:lnTo>
                    <a:pt x="59114" y="34057"/>
                  </a:lnTo>
                  <a:lnTo>
                    <a:pt x="59216" y="34057"/>
                  </a:lnTo>
                  <a:lnTo>
                    <a:pt x="59216" y="34159"/>
                  </a:lnTo>
                  <a:lnTo>
                    <a:pt x="59011" y="34057"/>
                  </a:lnTo>
                  <a:lnTo>
                    <a:pt x="58807" y="34364"/>
                  </a:lnTo>
                  <a:lnTo>
                    <a:pt x="58091" y="34261"/>
                  </a:lnTo>
                  <a:lnTo>
                    <a:pt x="57989" y="34159"/>
                  </a:lnTo>
                  <a:lnTo>
                    <a:pt x="58193" y="33955"/>
                  </a:lnTo>
                  <a:lnTo>
                    <a:pt x="58091" y="33955"/>
                  </a:lnTo>
                  <a:lnTo>
                    <a:pt x="58091" y="33648"/>
                  </a:lnTo>
                  <a:lnTo>
                    <a:pt x="57682" y="33648"/>
                  </a:lnTo>
                  <a:lnTo>
                    <a:pt x="56250" y="35898"/>
                  </a:lnTo>
                  <a:lnTo>
                    <a:pt x="56045" y="34875"/>
                  </a:lnTo>
                  <a:lnTo>
                    <a:pt x="55330" y="35182"/>
                  </a:lnTo>
                  <a:lnTo>
                    <a:pt x="55330" y="35182"/>
                  </a:lnTo>
                  <a:lnTo>
                    <a:pt x="56352" y="33750"/>
                  </a:lnTo>
                  <a:lnTo>
                    <a:pt x="56250" y="33443"/>
                  </a:lnTo>
                  <a:lnTo>
                    <a:pt x="55330" y="33136"/>
                  </a:lnTo>
                  <a:lnTo>
                    <a:pt x="54409" y="34159"/>
                  </a:lnTo>
                  <a:lnTo>
                    <a:pt x="54614" y="33648"/>
                  </a:lnTo>
                  <a:lnTo>
                    <a:pt x="52568" y="36818"/>
                  </a:lnTo>
                  <a:lnTo>
                    <a:pt x="51545" y="37125"/>
                  </a:lnTo>
                  <a:lnTo>
                    <a:pt x="52773" y="34364"/>
                  </a:lnTo>
                  <a:lnTo>
                    <a:pt x="52364" y="34364"/>
                  </a:lnTo>
                  <a:lnTo>
                    <a:pt x="53693" y="32932"/>
                  </a:lnTo>
                  <a:lnTo>
                    <a:pt x="53693" y="33136"/>
                  </a:lnTo>
                  <a:lnTo>
                    <a:pt x="54102" y="32932"/>
                  </a:lnTo>
                  <a:lnTo>
                    <a:pt x="53898" y="33239"/>
                  </a:lnTo>
                  <a:lnTo>
                    <a:pt x="53898" y="33239"/>
                  </a:lnTo>
                  <a:lnTo>
                    <a:pt x="55125" y="32727"/>
                  </a:lnTo>
                  <a:lnTo>
                    <a:pt x="55534" y="32932"/>
                  </a:lnTo>
                  <a:lnTo>
                    <a:pt x="55636" y="32830"/>
                  </a:lnTo>
                  <a:lnTo>
                    <a:pt x="56250" y="32830"/>
                  </a:lnTo>
                  <a:lnTo>
                    <a:pt x="55534" y="32318"/>
                  </a:lnTo>
                  <a:lnTo>
                    <a:pt x="55739" y="32114"/>
                  </a:lnTo>
                  <a:lnTo>
                    <a:pt x="53693" y="32318"/>
                  </a:lnTo>
                  <a:lnTo>
                    <a:pt x="53591" y="32011"/>
                  </a:lnTo>
                  <a:lnTo>
                    <a:pt x="52977" y="32011"/>
                  </a:lnTo>
                  <a:lnTo>
                    <a:pt x="52977" y="31602"/>
                  </a:lnTo>
                  <a:lnTo>
                    <a:pt x="50830" y="32216"/>
                  </a:lnTo>
                  <a:lnTo>
                    <a:pt x="50830" y="31909"/>
                  </a:lnTo>
                  <a:lnTo>
                    <a:pt x="50011" y="32011"/>
                  </a:lnTo>
                  <a:lnTo>
                    <a:pt x="53489" y="30273"/>
                  </a:lnTo>
                  <a:lnTo>
                    <a:pt x="53489" y="30273"/>
                  </a:lnTo>
                  <a:lnTo>
                    <a:pt x="53693" y="30068"/>
                  </a:lnTo>
                  <a:lnTo>
                    <a:pt x="53898" y="30068"/>
                  </a:lnTo>
                  <a:lnTo>
                    <a:pt x="53591" y="30375"/>
                  </a:lnTo>
                  <a:lnTo>
                    <a:pt x="54102" y="30068"/>
                  </a:lnTo>
                  <a:lnTo>
                    <a:pt x="54102" y="29864"/>
                  </a:lnTo>
                  <a:close/>
                  <a:moveTo>
                    <a:pt x="131932" y="36000"/>
                  </a:moveTo>
                  <a:lnTo>
                    <a:pt x="131830" y="36205"/>
                  </a:lnTo>
                  <a:lnTo>
                    <a:pt x="131216" y="36511"/>
                  </a:lnTo>
                  <a:lnTo>
                    <a:pt x="131318" y="36614"/>
                  </a:lnTo>
                  <a:lnTo>
                    <a:pt x="131318" y="37023"/>
                  </a:lnTo>
                  <a:lnTo>
                    <a:pt x="131830" y="37432"/>
                  </a:lnTo>
                  <a:lnTo>
                    <a:pt x="131932" y="36000"/>
                  </a:lnTo>
                  <a:close/>
                  <a:moveTo>
                    <a:pt x="239216" y="33443"/>
                  </a:moveTo>
                  <a:lnTo>
                    <a:pt x="240341" y="35693"/>
                  </a:lnTo>
                  <a:lnTo>
                    <a:pt x="239625" y="35591"/>
                  </a:lnTo>
                  <a:lnTo>
                    <a:pt x="239625" y="36205"/>
                  </a:lnTo>
                  <a:lnTo>
                    <a:pt x="240750" y="37432"/>
                  </a:lnTo>
                  <a:lnTo>
                    <a:pt x="240750" y="37125"/>
                  </a:lnTo>
                  <a:lnTo>
                    <a:pt x="241159" y="37125"/>
                  </a:lnTo>
                  <a:lnTo>
                    <a:pt x="240239" y="36614"/>
                  </a:lnTo>
                  <a:lnTo>
                    <a:pt x="240341" y="36307"/>
                  </a:lnTo>
                  <a:lnTo>
                    <a:pt x="240750" y="36511"/>
                  </a:lnTo>
                  <a:lnTo>
                    <a:pt x="241364" y="36409"/>
                  </a:lnTo>
                  <a:lnTo>
                    <a:pt x="242795" y="36920"/>
                  </a:lnTo>
                  <a:lnTo>
                    <a:pt x="242693" y="36409"/>
                  </a:lnTo>
                  <a:lnTo>
                    <a:pt x="244023" y="35489"/>
                  </a:lnTo>
                  <a:lnTo>
                    <a:pt x="243716" y="35591"/>
                  </a:lnTo>
                  <a:lnTo>
                    <a:pt x="243205" y="35284"/>
                  </a:lnTo>
                  <a:lnTo>
                    <a:pt x="242898" y="34568"/>
                  </a:lnTo>
                  <a:lnTo>
                    <a:pt x="242284" y="34875"/>
                  </a:lnTo>
                  <a:lnTo>
                    <a:pt x="239216" y="33443"/>
                  </a:lnTo>
                  <a:close/>
                  <a:moveTo>
                    <a:pt x="143693" y="38659"/>
                  </a:moveTo>
                  <a:lnTo>
                    <a:pt x="144000" y="38864"/>
                  </a:lnTo>
                  <a:lnTo>
                    <a:pt x="143740" y="38678"/>
                  </a:lnTo>
                  <a:lnTo>
                    <a:pt x="143740" y="38678"/>
                  </a:lnTo>
                  <a:lnTo>
                    <a:pt x="143693" y="38659"/>
                  </a:lnTo>
                  <a:close/>
                  <a:moveTo>
                    <a:pt x="155250" y="31602"/>
                  </a:moveTo>
                  <a:lnTo>
                    <a:pt x="155148" y="31705"/>
                  </a:lnTo>
                  <a:lnTo>
                    <a:pt x="155659" y="31705"/>
                  </a:lnTo>
                  <a:lnTo>
                    <a:pt x="155148" y="32011"/>
                  </a:lnTo>
                  <a:lnTo>
                    <a:pt x="155148" y="32216"/>
                  </a:lnTo>
                  <a:lnTo>
                    <a:pt x="154636" y="32216"/>
                  </a:lnTo>
                  <a:lnTo>
                    <a:pt x="155250" y="32727"/>
                  </a:lnTo>
                  <a:lnTo>
                    <a:pt x="154943" y="32932"/>
                  </a:lnTo>
                  <a:lnTo>
                    <a:pt x="154739" y="33341"/>
                  </a:lnTo>
                  <a:lnTo>
                    <a:pt x="154023" y="33443"/>
                  </a:lnTo>
                  <a:lnTo>
                    <a:pt x="154125" y="33545"/>
                  </a:lnTo>
                  <a:lnTo>
                    <a:pt x="153920" y="33648"/>
                  </a:lnTo>
                  <a:lnTo>
                    <a:pt x="158318" y="36205"/>
                  </a:lnTo>
                  <a:lnTo>
                    <a:pt x="158318" y="37636"/>
                  </a:lnTo>
                  <a:lnTo>
                    <a:pt x="148398" y="37636"/>
                  </a:lnTo>
                  <a:lnTo>
                    <a:pt x="149011" y="38148"/>
                  </a:lnTo>
                  <a:lnTo>
                    <a:pt x="148193" y="38352"/>
                  </a:lnTo>
                  <a:lnTo>
                    <a:pt x="148398" y="38455"/>
                  </a:lnTo>
                  <a:lnTo>
                    <a:pt x="147477" y="38557"/>
                  </a:lnTo>
                  <a:lnTo>
                    <a:pt x="147273" y="38455"/>
                  </a:lnTo>
                  <a:lnTo>
                    <a:pt x="147273" y="38455"/>
                  </a:lnTo>
                  <a:lnTo>
                    <a:pt x="147375" y="38557"/>
                  </a:lnTo>
                  <a:lnTo>
                    <a:pt x="146761" y="38455"/>
                  </a:lnTo>
                  <a:lnTo>
                    <a:pt x="146045" y="38864"/>
                  </a:lnTo>
                  <a:lnTo>
                    <a:pt x="146045" y="38864"/>
                  </a:lnTo>
                  <a:lnTo>
                    <a:pt x="147580" y="37841"/>
                  </a:lnTo>
                  <a:lnTo>
                    <a:pt x="148091" y="37943"/>
                  </a:lnTo>
                  <a:lnTo>
                    <a:pt x="148091" y="37943"/>
                  </a:lnTo>
                  <a:lnTo>
                    <a:pt x="146864" y="36409"/>
                  </a:lnTo>
                  <a:lnTo>
                    <a:pt x="147682" y="34364"/>
                  </a:lnTo>
                  <a:lnTo>
                    <a:pt x="147886" y="33955"/>
                  </a:lnTo>
                  <a:lnTo>
                    <a:pt x="147886" y="34159"/>
                  </a:lnTo>
                  <a:lnTo>
                    <a:pt x="148295" y="33545"/>
                  </a:lnTo>
                  <a:lnTo>
                    <a:pt x="148193" y="33239"/>
                  </a:lnTo>
                  <a:lnTo>
                    <a:pt x="149523" y="32011"/>
                  </a:lnTo>
                  <a:lnTo>
                    <a:pt x="149830" y="32114"/>
                  </a:lnTo>
                  <a:lnTo>
                    <a:pt x="149625" y="31602"/>
                  </a:lnTo>
                  <a:lnTo>
                    <a:pt x="150443" y="32216"/>
                  </a:lnTo>
                  <a:lnTo>
                    <a:pt x="149625" y="32318"/>
                  </a:lnTo>
                  <a:lnTo>
                    <a:pt x="150341" y="32727"/>
                  </a:lnTo>
                  <a:lnTo>
                    <a:pt x="151159" y="32727"/>
                  </a:lnTo>
                  <a:lnTo>
                    <a:pt x="151261" y="33034"/>
                  </a:lnTo>
                  <a:lnTo>
                    <a:pt x="150545" y="33443"/>
                  </a:lnTo>
                  <a:lnTo>
                    <a:pt x="151466" y="33852"/>
                  </a:lnTo>
                  <a:lnTo>
                    <a:pt x="151466" y="34364"/>
                  </a:lnTo>
                  <a:lnTo>
                    <a:pt x="152080" y="34364"/>
                  </a:lnTo>
                  <a:lnTo>
                    <a:pt x="153102" y="33750"/>
                  </a:lnTo>
                  <a:lnTo>
                    <a:pt x="153614" y="33852"/>
                  </a:lnTo>
                  <a:lnTo>
                    <a:pt x="153818" y="33443"/>
                  </a:lnTo>
                  <a:lnTo>
                    <a:pt x="152795" y="33443"/>
                  </a:lnTo>
                  <a:lnTo>
                    <a:pt x="152386" y="32830"/>
                  </a:lnTo>
                  <a:lnTo>
                    <a:pt x="152591" y="32420"/>
                  </a:lnTo>
                  <a:lnTo>
                    <a:pt x="152489" y="32727"/>
                  </a:lnTo>
                  <a:lnTo>
                    <a:pt x="152489" y="32727"/>
                  </a:lnTo>
                  <a:lnTo>
                    <a:pt x="155250" y="31602"/>
                  </a:lnTo>
                  <a:close/>
                  <a:moveTo>
                    <a:pt x="144000" y="38864"/>
                  </a:moveTo>
                  <a:lnTo>
                    <a:pt x="144000" y="38864"/>
                  </a:lnTo>
                  <a:lnTo>
                    <a:pt x="144000" y="38864"/>
                  </a:lnTo>
                  <a:close/>
                  <a:moveTo>
                    <a:pt x="144000" y="38864"/>
                  </a:moveTo>
                  <a:lnTo>
                    <a:pt x="144000" y="38864"/>
                  </a:lnTo>
                  <a:lnTo>
                    <a:pt x="144000" y="38864"/>
                  </a:lnTo>
                  <a:close/>
                  <a:moveTo>
                    <a:pt x="131011" y="37943"/>
                  </a:moveTo>
                  <a:lnTo>
                    <a:pt x="131011" y="38250"/>
                  </a:lnTo>
                  <a:lnTo>
                    <a:pt x="131216" y="39580"/>
                  </a:lnTo>
                  <a:lnTo>
                    <a:pt x="132136" y="39682"/>
                  </a:lnTo>
                  <a:lnTo>
                    <a:pt x="132136" y="37943"/>
                  </a:lnTo>
                  <a:close/>
                  <a:moveTo>
                    <a:pt x="165580" y="31807"/>
                  </a:moveTo>
                  <a:lnTo>
                    <a:pt x="166091" y="32011"/>
                  </a:lnTo>
                  <a:lnTo>
                    <a:pt x="166295" y="31909"/>
                  </a:lnTo>
                  <a:lnTo>
                    <a:pt x="166705" y="31909"/>
                  </a:lnTo>
                  <a:lnTo>
                    <a:pt x="167420" y="33545"/>
                  </a:lnTo>
                  <a:lnTo>
                    <a:pt x="165886" y="33545"/>
                  </a:lnTo>
                  <a:lnTo>
                    <a:pt x="166193" y="34364"/>
                  </a:lnTo>
                  <a:lnTo>
                    <a:pt x="165273" y="34568"/>
                  </a:lnTo>
                  <a:lnTo>
                    <a:pt x="165682" y="34670"/>
                  </a:lnTo>
                  <a:lnTo>
                    <a:pt x="166398" y="35693"/>
                  </a:lnTo>
                  <a:lnTo>
                    <a:pt x="166705" y="35795"/>
                  </a:lnTo>
                  <a:lnTo>
                    <a:pt x="166909" y="36000"/>
                  </a:lnTo>
                  <a:lnTo>
                    <a:pt x="167420" y="36102"/>
                  </a:lnTo>
                  <a:lnTo>
                    <a:pt x="168136" y="37739"/>
                  </a:lnTo>
                  <a:lnTo>
                    <a:pt x="168136" y="36818"/>
                  </a:lnTo>
                  <a:lnTo>
                    <a:pt x="169670" y="37841"/>
                  </a:lnTo>
                  <a:lnTo>
                    <a:pt x="169466" y="38250"/>
                  </a:lnTo>
                  <a:lnTo>
                    <a:pt x="168239" y="37841"/>
                  </a:lnTo>
                  <a:lnTo>
                    <a:pt x="168648" y="39068"/>
                  </a:lnTo>
                  <a:lnTo>
                    <a:pt x="168955" y="38864"/>
                  </a:lnTo>
                  <a:lnTo>
                    <a:pt x="169159" y="39273"/>
                  </a:lnTo>
                  <a:lnTo>
                    <a:pt x="168852" y="39273"/>
                  </a:lnTo>
                  <a:lnTo>
                    <a:pt x="168852" y="39580"/>
                  </a:lnTo>
                  <a:lnTo>
                    <a:pt x="169261" y="39682"/>
                  </a:lnTo>
                  <a:lnTo>
                    <a:pt x="169773" y="42034"/>
                  </a:lnTo>
                  <a:lnTo>
                    <a:pt x="169977" y="42034"/>
                  </a:lnTo>
                  <a:lnTo>
                    <a:pt x="169773" y="42136"/>
                  </a:lnTo>
                  <a:lnTo>
                    <a:pt x="169773" y="42034"/>
                  </a:lnTo>
                  <a:lnTo>
                    <a:pt x="167420" y="42136"/>
                  </a:lnTo>
                  <a:lnTo>
                    <a:pt x="165580" y="41114"/>
                  </a:lnTo>
                  <a:lnTo>
                    <a:pt x="165375" y="39682"/>
                  </a:lnTo>
                  <a:lnTo>
                    <a:pt x="165375" y="39682"/>
                  </a:lnTo>
                  <a:lnTo>
                    <a:pt x="165477" y="39886"/>
                  </a:lnTo>
                  <a:lnTo>
                    <a:pt x="166295" y="38659"/>
                  </a:lnTo>
                  <a:lnTo>
                    <a:pt x="163227" y="35693"/>
                  </a:lnTo>
                  <a:lnTo>
                    <a:pt x="163227" y="35080"/>
                  </a:lnTo>
                  <a:lnTo>
                    <a:pt x="163125" y="35386"/>
                  </a:lnTo>
                  <a:lnTo>
                    <a:pt x="162307" y="34261"/>
                  </a:lnTo>
                  <a:lnTo>
                    <a:pt x="162409" y="34057"/>
                  </a:lnTo>
                  <a:lnTo>
                    <a:pt x="162511" y="34057"/>
                  </a:lnTo>
                  <a:lnTo>
                    <a:pt x="162614" y="33136"/>
                  </a:lnTo>
                  <a:lnTo>
                    <a:pt x="162818" y="33239"/>
                  </a:lnTo>
                  <a:lnTo>
                    <a:pt x="163636" y="32932"/>
                  </a:lnTo>
                  <a:lnTo>
                    <a:pt x="163534" y="32727"/>
                  </a:lnTo>
                  <a:lnTo>
                    <a:pt x="163943" y="32523"/>
                  </a:lnTo>
                  <a:lnTo>
                    <a:pt x="164045" y="32420"/>
                  </a:lnTo>
                  <a:lnTo>
                    <a:pt x="163943" y="32318"/>
                  </a:lnTo>
                  <a:lnTo>
                    <a:pt x="165580" y="31807"/>
                  </a:lnTo>
                  <a:close/>
                  <a:moveTo>
                    <a:pt x="137352" y="40602"/>
                  </a:moveTo>
                  <a:lnTo>
                    <a:pt x="135511" y="40807"/>
                  </a:lnTo>
                  <a:lnTo>
                    <a:pt x="134898" y="40705"/>
                  </a:lnTo>
                  <a:lnTo>
                    <a:pt x="137045" y="42239"/>
                  </a:lnTo>
                  <a:lnTo>
                    <a:pt x="137148" y="41932"/>
                  </a:lnTo>
                  <a:lnTo>
                    <a:pt x="137045" y="41625"/>
                  </a:lnTo>
                  <a:lnTo>
                    <a:pt x="137352" y="40602"/>
                  </a:lnTo>
                  <a:close/>
                  <a:moveTo>
                    <a:pt x="146659" y="43670"/>
                  </a:moveTo>
                  <a:lnTo>
                    <a:pt x="146148" y="43875"/>
                  </a:lnTo>
                  <a:lnTo>
                    <a:pt x="146250" y="43875"/>
                  </a:lnTo>
                  <a:lnTo>
                    <a:pt x="146659" y="43670"/>
                  </a:lnTo>
                  <a:close/>
                  <a:moveTo>
                    <a:pt x="144409" y="43364"/>
                  </a:moveTo>
                  <a:lnTo>
                    <a:pt x="144307" y="43466"/>
                  </a:lnTo>
                  <a:lnTo>
                    <a:pt x="144307" y="43773"/>
                  </a:lnTo>
                  <a:lnTo>
                    <a:pt x="145330" y="44080"/>
                  </a:lnTo>
                  <a:lnTo>
                    <a:pt x="146148" y="43875"/>
                  </a:lnTo>
                  <a:lnTo>
                    <a:pt x="146045" y="43670"/>
                  </a:lnTo>
                  <a:lnTo>
                    <a:pt x="144716" y="43568"/>
                  </a:lnTo>
                  <a:lnTo>
                    <a:pt x="144818" y="43466"/>
                  </a:lnTo>
                  <a:lnTo>
                    <a:pt x="144409" y="43364"/>
                  </a:lnTo>
                  <a:close/>
                  <a:moveTo>
                    <a:pt x="153614" y="43364"/>
                  </a:moveTo>
                  <a:lnTo>
                    <a:pt x="151773" y="43977"/>
                  </a:lnTo>
                  <a:lnTo>
                    <a:pt x="152489" y="44489"/>
                  </a:lnTo>
                  <a:lnTo>
                    <a:pt x="153307" y="44080"/>
                  </a:lnTo>
                  <a:lnTo>
                    <a:pt x="153614" y="43466"/>
                  </a:lnTo>
                  <a:lnTo>
                    <a:pt x="153614" y="43364"/>
                  </a:lnTo>
                  <a:close/>
                  <a:moveTo>
                    <a:pt x="241568" y="37534"/>
                  </a:moveTo>
                  <a:lnTo>
                    <a:pt x="241261" y="37636"/>
                  </a:lnTo>
                  <a:lnTo>
                    <a:pt x="241670" y="37739"/>
                  </a:lnTo>
                  <a:lnTo>
                    <a:pt x="241466" y="38045"/>
                  </a:lnTo>
                  <a:lnTo>
                    <a:pt x="240955" y="37636"/>
                  </a:lnTo>
                  <a:lnTo>
                    <a:pt x="241057" y="37943"/>
                  </a:lnTo>
                  <a:lnTo>
                    <a:pt x="240955" y="38148"/>
                  </a:lnTo>
                  <a:lnTo>
                    <a:pt x="241261" y="38864"/>
                  </a:lnTo>
                  <a:lnTo>
                    <a:pt x="241159" y="38864"/>
                  </a:lnTo>
                  <a:lnTo>
                    <a:pt x="241875" y="40807"/>
                  </a:lnTo>
                  <a:lnTo>
                    <a:pt x="241670" y="41114"/>
                  </a:lnTo>
                  <a:lnTo>
                    <a:pt x="241466" y="41727"/>
                  </a:lnTo>
                  <a:lnTo>
                    <a:pt x="240955" y="42136"/>
                  </a:lnTo>
                  <a:lnTo>
                    <a:pt x="240443" y="41932"/>
                  </a:lnTo>
                  <a:lnTo>
                    <a:pt x="240545" y="41420"/>
                  </a:lnTo>
                  <a:lnTo>
                    <a:pt x="240545" y="41420"/>
                  </a:lnTo>
                  <a:lnTo>
                    <a:pt x="240136" y="41727"/>
                  </a:lnTo>
                  <a:lnTo>
                    <a:pt x="240341" y="43261"/>
                  </a:lnTo>
                  <a:lnTo>
                    <a:pt x="239727" y="43466"/>
                  </a:lnTo>
                  <a:lnTo>
                    <a:pt x="239420" y="43364"/>
                  </a:lnTo>
                  <a:lnTo>
                    <a:pt x="237477" y="43977"/>
                  </a:lnTo>
                  <a:lnTo>
                    <a:pt x="236761" y="45102"/>
                  </a:lnTo>
                  <a:lnTo>
                    <a:pt x="237886" y="45205"/>
                  </a:lnTo>
                  <a:lnTo>
                    <a:pt x="237784" y="44795"/>
                  </a:lnTo>
                  <a:lnTo>
                    <a:pt x="240341" y="44489"/>
                  </a:lnTo>
                  <a:lnTo>
                    <a:pt x="240239" y="44795"/>
                  </a:lnTo>
                  <a:lnTo>
                    <a:pt x="240955" y="45614"/>
                  </a:lnTo>
                  <a:lnTo>
                    <a:pt x="241670" y="44795"/>
                  </a:lnTo>
                  <a:lnTo>
                    <a:pt x="241261" y="44080"/>
                  </a:lnTo>
                  <a:lnTo>
                    <a:pt x="241568" y="44386"/>
                  </a:lnTo>
                  <a:lnTo>
                    <a:pt x="241568" y="44182"/>
                  </a:lnTo>
                  <a:lnTo>
                    <a:pt x="241670" y="44489"/>
                  </a:lnTo>
                  <a:lnTo>
                    <a:pt x="242693" y="44489"/>
                  </a:lnTo>
                  <a:lnTo>
                    <a:pt x="243102" y="43977"/>
                  </a:lnTo>
                  <a:lnTo>
                    <a:pt x="243307" y="43977"/>
                  </a:lnTo>
                  <a:lnTo>
                    <a:pt x="243409" y="43773"/>
                  </a:lnTo>
                  <a:lnTo>
                    <a:pt x="243614" y="43773"/>
                  </a:lnTo>
                  <a:lnTo>
                    <a:pt x="243511" y="43364"/>
                  </a:lnTo>
                  <a:lnTo>
                    <a:pt x="243818" y="43466"/>
                  </a:lnTo>
                  <a:lnTo>
                    <a:pt x="243818" y="43773"/>
                  </a:lnTo>
                  <a:lnTo>
                    <a:pt x="244023" y="44182"/>
                  </a:lnTo>
                  <a:lnTo>
                    <a:pt x="244432" y="43261"/>
                  </a:lnTo>
                  <a:lnTo>
                    <a:pt x="244023" y="42852"/>
                  </a:lnTo>
                  <a:lnTo>
                    <a:pt x="243205" y="40602"/>
                  </a:lnTo>
                  <a:lnTo>
                    <a:pt x="243511" y="40500"/>
                  </a:lnTo>
                  <a:lnTo>
                    <a:pt x="243409" y="39886"/>
                  </a:lnTo>
                  <a:lnTo>
                    <a:pt x="243409" y="39784"/>
                  </a:lnTo>
                  <a:lnTo>
                    <a:pt x="241568" y="37534"/>
                  </a:lnTo>
                  <a:close/>
                  <a:moveTo>
                    <a:pt x="238909" y="44795"/>
                  </a:moveTo>
                  <a:lnTo>
                    <a:pt x="238807" y="45102"/>
                  </a:lnTo>
                  <a:lnTo>
                    <a:pt x="238398" y="45000"/>
                  </a:lnTo>
                  <a:lnTo>
                    <a:pt x="238295" y="45307"/>
                  </a:lnTo>
                  <a:lnTo>
                    <a:pt x="237989" y="45716"/>
                  </a:lnTo>
                  <a:lnTo>
                    <a:pt x="238398" y="45920"/>
                  </a:lnTo>
                  <a:lnTo>
                    <a:pt x="238705" y="46330"/>
                  </a:lnTo>
                  <a:lnTo>
                    <a:pt x="239523" y="45614"/>
                  </a:lnTo>
                  <a:lnTo>
                    <a:pt x="239830" y="45818"/>
                  </a:lnTo>
                  <a:lnTo>
                    <a:pt x="240034" y="45307"/>
                  </a:lnTo>
                  <a:lnTo>
                    <a:pt x="239625" y="44795"/>
                  </a:lnTo>
                  <a:close/>
                  <a:moveTo>
                    <a:pt x="151875" y="47659"/>
                  </a:moveTo>
                  <a:lnTo>
                    <a:pt x="151773" y="47761"/>
                  </a:lnTo>
                  <a:lnTo>
                    <a:pt x="152080" y="47864"/>
                  </a:lnTo>
                  <a:lnTo>
                    <a:pt x="151875" y="47659"/>
                  </a:lnTo>
                  <a:close/>
                  <a:moveTo>
                    <a:pt x="236455" y="45307"/>
                  </a:moveTo>
                  <a:lnTo>
                    <a:pt x="236045" y="45614"/>
                  </a:lnTo>
                  <a:lnTo>
                    <a:pt x="236045" y="45818"/>
                  </a:lnTo>
                  <a:lnTo>
                    <a:pt x="235943" y="45716"/>
                  </a:lnTo>
                  <a:lnTo>
                    <a:pt x="236352" y="46227"/>
                  </a:lnTo>
                  <a:lnTo>
                    <a:pt x="236045" y="46023"/>
                  </a:lnTo>
                  <a:lnTo>
                    <a:pt x="236352" y="46534"/>
                  </a:lnTo>
                  <a:lnTo>
                    <a:pt x="236659" y="46227"/>
                  </a:lnTo>
                  <a:lnTo>
                    <a:pt x="236455" y="46023"/>
                  </a:lnTo>
                  <a:lnTo>
                    <a:pt x="236659" y="46125"/>
                  </a:lnTo>
                  <a:lnTo>
                    <a:pt x="236966" y="46534"/>
                  </a:lnTo>
                  <a:lnTo>
                    <a:pt x="237068" y="47761"/>
                  </a:lnTo>
                  <a:lnTo>
                    <a:pt x="237580" y="47966"/>
                  </a:lnTo>
                  <a:lnTo>
                    <a:pt x="237580" y="47455"/>
                  </a:lnTo>
                  <a:lnTo>
                    <a:pt x="237784" y="48170"/>
                  </a:lnTo>
                  <a:lnTo>
                    <a:pt x="237886" y="47966"/>
                  </a:lnTo>
                  <a:lnTo>
                    <a:pt x="237886" y="47761"/>
                  </a:lnTo>
                  <a:lnTo>
                    <a:pt x="238193" y="47761"/>
                  </a:lnTo>
                  <a:lnTo>
                    <a:pt x="237886" y="45818"/>
                  </a:lnTo>
                  <a:lnTo>
                    <a:pt x="237580" y="45818"/>
                  </a:lnTo>
                  <a:lnTo>
                    <a:pt x="237477" y="45409"/>
                  </a:lnTo>
                  <a:lnTo>
                    <a:pt x="237273" y="45511"/>
                  </a:lnTo>
                  <a:lnTo>
                    <a:pt x="236864" y="45307"/>
                  </a:lnTo>
                  <a:close/>
                  <a:moveTo>
                    <a:pt x="49602" y="49398"/>
                  </a:moveTo>
                  <a:lnTo>
                    <a:pt x="49705" y="49500"/>
                  </a:lnTo>
                  <a:lnTo>
                    <a:pt x="49655" y="49401"/>
                  </a:lnTo>
                  <a:lnTo>
                    <a:pt x="49655" y="49401"/>
                  </a:lnTo>
                  <a:lnTo>
                    <a:pt x="49602" y="49398"/>
                  </a:lnTo>
                  <a:close/>
                  <a:moveTo>
                    <a:pt x="53489" y="53386"/>
                  </a:moveTo>
                  <a:lnTo>
                    <a:pt x="53485" y="53390"/>
                  </a:lnTo>
                  <a:lnTo>
                    <a:pt x="53485" y="53390"/>
                  </a:lnTo>
                  <a:lnTo>
                    <a:pt x="53489" y="53489"/>
                  </a:lnTo>
                  <a:lnTo>
                    <a:pt x="53489" y="53386"/>
                  </a:lnTo>
                  <a:close/>
                  <a:moveTo>
                    <a:pt x="231648" y="54102"/>
                  </a:moveTo>
                  <a:lnTo>
                    <a:pt x="231239" y="54205"/>
                  </a:lnTo>
                  <a:lnTo>
                    <a:pt x="230625" y="55739"/>
                  </a:lnTo>
                  <a:lnTo>
                    <a:pt x="231648" y="57477"/>
                  </a:lnTo>
                  <a:lnTo>
                    <a:pt x="231852" y="54511"/>
                  </a:lnTo>
                  <a:lnTo>
                    <a:pt x="231648" y="54102"/>
                  </a:lnTo>
                  <a:close/>
                  <a:moveTo>
                    <a:pt x="46432" y="57886"/>
                  </a:moveTo>
                  <a:lnTo>
                    <a:pt x="46432" y="57989"/>
                  </a:lnTo>
                  <a:lnTo>
                    <a:pt x="46636" y="57886"/>
                  </a:lnTo>
                  <a:close/>
                  <a:moveTo>
                    <a:pt x="176216" y="59114"/>
                  </a:moveTo>
                  <a:lnTo>
                    <a:pt x="176216" y="59114"/>
                  </a:lnTo>
                  <a:lnTo>
                    <a:pt x="176216" y="59114"/>
                  </a:lnTo>
                  <a:close/>
                  <a:moveTo>
                    <a:pt x="52057" y="56250"/>
                  </a:moveTo>
                  <a:lnTo>
                    <a:pt x="49193" y="57170"/>
                  </a:lnTo>
                  <a:lnTo>
                    <a:pt x="49091" y="57375"/>
                  </a:lnTo>
                  <a:lnTo>
                    <a:pt x="48682" y="57580"/>
                  </a:lnTo>
                  <a:lnTo>
                    <a:pt x="48989" y="57477"/>
                  </a:lnTo>
                  <a:lnTo>
                    <a:pt x="48989" y="57682"/>
                  </a:lnTo>
                  <a:lnTo>
                    <a:pt x="51443" y="56761"/>
                  </a:lnTo>
                  <a:lnTo>
                    <a:pt x="51443" y="56761"/>
                  </a:lnTo>
                  <a:lnTo>
                    <a:pt x="51239" y="56966"/>
                  </a:lnTo>
                  <a:lnTo>
                    <a:pt x="54205" y="57886"/>
                  </a:lnTo>
                  <a:lnTo>
                    <a:pt x="54307" y="58500"/>
                  </a:lnTo>
                  <a:lnTo>
                    <a:pt x="55330" y="58807"/>
                  </a:lnTo>
                  <a:lnTo>
                    <a:pt x="54818" y="59625"/>
                  </a:lnTo>
                  <a:lnTo>
                    <a:pt x="54818" y="59625"/>
                  </a:lnTo>
                  <a:lnTo>
                    <a:pt x="57068" y="59420"/>
                  </a:lnTo>
                  <a:lnTo>
                    <a:pt x="57170" y="59523"/>
                  </a:lnTo>
                  <a:lnTo>
                    <a:pt x="57886" y="59420"/>
                  </a:lnTo>
                  <a:lnTo>
                    <a:pt x="57886" y="59114"/>
                  </a:lnTo>
                  <a:lnTo>
                    <a:pt x="55739" y="58091"/>
                  </a:lnTo>
                  <a:lnTo>
                    <a:pt x="55534" y="57886"/>
                  </a:lnTo>
                  <a:lnTo>
                    <a:pt x="55330" y="57784"/>
                  </a:lnTo>
                  <a:lnTo>
                    <a:pt x="55534" y="57784"/>
                  </a:lnTo>
                  <a:lnTo>
                    <a:pt x="55125" y="57580"/>
                  </a:lnTo>
                  <a:lnTo>
                    <a:pt x="55227" y="57682"/>
                  </a:lnTo>
                  <a:lnTo>
                    <a:pt x="52057" y="56250"/>
                  </a:lnTo>
                  <a:close/>
                  <a:moveTo>
                    <a:pt x="207307" y="59625"/>
                  </a:moveTo>
                  <a:lnTo>
                    <a:pt x="207307" y="59625"/>
                  </a:lnTo>
                  <a:lnTo>
                    <a:pt x="207307" y="59625"/>
                  </a:lnTo>
                  <a:close/>
                  <a:moveTo>
                    <a:pt x="222648" y="59420"/>
                  </a:moveTo>
                  <a:lnTo>
                    <a:pt x="222648" y="59523"/>
                  </a:lnTo>
                  <a:lnTo>
                    <a:pt x="221625" y="59727"/>
                  </a:lnTo>
                  <a:lnTo>
                    <a:pt x="221727" y="59727"/>
                  </a:lnTo>
                  <a:lnTo>
                    <a:pt x="221216" y="60341"/>
                  </a:lnTo>
                  <a:lnTo>
                    <a:pt x="221727" y="61159"/>
                  </a:lnTo>
                  <a:lnTo>
                    <a:pt x="222750" y="60852"/>
                  </a:lnTo>
                  <a:lnTo>
                    <a:pt x="223159" y="59932"/>
                  </a:lnTo>
                  <a:lnTo>
                    <a:pt x="222648" y="59420"/>
                  </a:lnTo>
                  <a:close/>
                  <a:moveTo>
                    <a:pt x="54511" y="60955"/>
                  </a:moveTo>
                  <a:lnTo>
                    <a:pt x="54205" y="61057"/>
                  </a:lnTo>
                  <a:lnTo>
                    <a:pt x="54614" y="61670"/>
                  </a:lnTo>
                  <a:lnTo>
                    <a:pt x="55023" y="61773"/>
                  </a:lnTo>
                  <a:lnTo>
                    <a:pt x="55534" y="61568"/>
                  </a:lnTo>
                  <a:lnTo>
                    <a:pt x="55943" y="61568"/>
                  </a:lnTo>
                  <a:lnTo>
                    <a:pt x="54511" y="60955"/>
                  </a:lnTo>
                  <a:close/>
                  <a:moveTo>
                    <a:pt x="58602" y="59727"/>
                  </a:moveTo>
                  <a:lnTo>
                    <a:pt x="59114" y="60034"/>
                  </a:lnTo>
                  <a:lnTo>
                    <a:pt x="59114" y="60443"/>
                  </a:lnTo>
                  <a:lnTo>
                    <a:pt x="59420" y="60955"/>
                  </a:lnTo>
                  <a:lnTo>
                    <a:pt x="59114" y="61057"/>
                  </a:lnTo>
                  <a:lnTo>
                    <a:pt x="57784" y="60852"/>
                  </a:lnTo>
                  <a:lnTo>
                    <a:pt x="57580" y="61159"/>
                  </a:lnTo>
                  <a:lnTo>
                    <a:pt x="57989" y="61466"/>
                  </a:lnTo>
                  <a:lnTo>
                    <a:pt x="59420" y="61261"/>
                  </a:lnTo>
                  <a:lnTo>
                    <a:pt x="59932" y="61568"/>
                  </a:lnTo>
                  <a:lnTo>
                    <a:pt x="60239" y="61875"/>
                  </a:lnTo>
                  <a:lnTo>
                    <a:pt x="60545" y="61261"/>
                  </a:lnTo>
                  <a:lnTo>
                    <a:pt x="62693" y="61261"/>
                  </a:lnTo>
                  <a:lnTo>
                    <a:pt x="63000" y="60750"/>
                  </a:lnTo>
                  <a:lnTo>
                    <a:pt x="61977" y="60341"/>
                  </a:lnTo>
                  <a:lnTo>
                    <a:pt x="62284" y="60239"/>
                  </a:lnTo>
                  <a:lnTo>
                    <a:pt x="58602" y="59727"/>
                  </a:lnTo>
                  <a:close/>
                  <a:moveTo>
                    <a:pt x="208739" y="63614"/>
                  </a:moveTo>
                  <a:lnTo>
                    <a:pt x="208739" y="63614"/>
                  </a:lnTo>
                  <a:lnTo>
                    <a:pt x="208739" y="63614"/>
                  </a:lnTo>
                  <a:close/>
                  <a:moveTo>
                    <a:pt x="48989" y="64227"/>
                  </a:moveTo>
                  <a:lnTo>
                    <a:pt x="48989" y="64330"/>
                  </a:lnTo>
                  <a:lnTo>
                    <a:pt x="49091" y="64432"/>
                  </a:lnTo>
                  <a:lnTo>
                    <a:pt x="49091" y="64432"/>
                  </a:lnTo>
                  <a:lnTo>
                    <a:pt x="48989" y="64227"/>
                  </a:lnTo>
                  <a:close/>
                  <a:moveTo>
                    <a:pt x="44182" y="66375"/>
                  </a:moveTo>
                  <a:lnTo>
                    <a:pt x="44386" y="66477"/>
                  </a:lnTo>
                  <a:lnTo>
                    <a:pt x="44386" y="66477"/>
                  </a:lnTo>
                  <a:lnTo>
                    <a:pt x="44284" y="66375"/>
                  </a:lnTo>
                  <a:close/>
                  <a:moveTo>
                    <a:pt x="232261" y="60955"/>
                  </a:moveTo>
                  <a:lnTo>
                    <a:pt x="231955" y="61670"/>
                  </a:lnTo>
                  <a:lnTo>
                    <a:pt x="232159" y="63511"/>
                  </a:lnTo>
                  <a:lnTo>
                    <a:pt x="231648" y="63307"/>
                  </a:lnTo>
                  <a:lnTo>
                    <a:pt x="232364" y="64943"/>
                  </a:lnTo>
                  <a:lnTo>
                    <a:pt x="232568" y="64739"/>
                  </a:lnTo>
                  <a:lnTo>
                    <a:pt x="232977" y="65148"/>
                  </a:lnTo>
                  <a:lnTo>
                    <a:pt x="232773" y="65864"/>
                  </a:lnTo>
                  <a:lnTo>
                    <a:pt x="233591" y="65966"/>
                  </a:lnTo>
                  <a:lnTo>
                    <a:pt x="233795" y="65659"/>
                  </a:lnTo>
                  <a:lnTo>
                    <a:pt x="234716" y="66375"/>
                  </a:lnTo>
                  <a:lnTo>
                    <a:pt x="234409" y="65761"/>
                  </a:lnTo>
                  <a:lnTo>
                    <a:pt x="236045" y="67091"/>
                  </a:lnTo>
                  <a:lnTo>
                    <a:pt x="235432" y="65966"/>
                  </a:lnTo>
                  <a:lnTo>
                    <a:pt x="235739" y="65864"/>
                  </a:lnTo>
                  <a:lnTo>
                    <a:pt x="235125" y="65659"/>
                  </a:lnTo>
                  <a:lnTo>
                    <a:pt x="235125" y="65864"/>
                  </a:lnTo>
                  <a:lnTo>
                    <a:pt x="234511" y="65352"/>
                  </a:lnTo>
                  <a:lnTo>
                    <a:pt x="234205" y="65455"/>
                  </a:lnTo>
                  <a:lnTo>
                    <a:pt x="234307" y="65659"/>
                  </a:lnTo>
                  <a:lnTo>
                    <a:pt x="233284" y="64330"/>
                  </a:lnTo>
                  <a:lnTo>
                    <a:pt x="233489" y="63511"/>
                  </a:lnTo>
                  <a:lnTo>
                    <a:pt x="233795" y="63205"/>
                  </a:lnTo>
                  <a:lnTo>
                    <a:pt x="233591" y="61159"/>
                  </a:lnTo>
                  <a:lnTo>
                    <a:pt x="233284" y="61261"/>
                  </a:lnTo>
                  <a:lnTo>
                    <a:pt x="232261" y="60955"/>
                  </a:lnTo>
                  <a:close/>
                  <a:moveTo>
                    <a:pt x="236045" y="67091"/>
                  </a:moveTo>
                  <a:lnTo>
                    <a:pt x="236045" y="67091"/>
                  </a:lnTo>
                  <a:lnTo>
                    <a:pt x="236045" y="67091"/>
                  </a:lnTo>
                  <a:close/>
                  <a:moveTo>
                    <a:pt x="232670" y="66170"/>
                  </a:moveTo>
                  <a:lnTo>
                    <a:pt x="233693" y="67398"/>
                  </a:lnTo>
                  <a:lnTo>
                    <a:pt x="233693" y="66580"/>
                  </a:lnTo>
                  <a:lnTo>
                    <a:pt x="233080" y="66170"/>
                  </a:lnTo>
                  <a:close/>
                  <a:moveTo>
                    <a:pt x="222750" y="67705"/>
                  </a:moveTo>
                  <a:lnTo>
                    <a:pt x="222750" y="67705"/>
                  </a:lnTo>
                  <a:lnTo>
                    <a:pt x="222750" y="67705"/>
                  </a:lnTo>
                  <a:close/>
                  <a:moveTo>
                    <a:pt x="222750" y="67705"/>
                  </a:moveTo>
                  <a:lnTo>
                    <a:pt x="222737" y="67743"/>
                  </a:lnTo>
                  <a:lnTo>
                    <a:pt x="222750" y="67807"/>
                  </a:lnTo>
                  <a:lnTo>
                    <a:pt x="222750" y="67705"/>
                  </a:lnTo>
                  <a:close/>
                  <a:moveTo>
                    <a:pt x="235330" y="67091"/>
                  </a:moveTo>
                  <a:lnTo>
                    <a:pt x="235330" y="67807"/>
                  </a:lnTo>
                  <a:lnTo>
                    <a:pt x="235739" y="67602"/>
                  </a:lnTo>
                  <a:lnTo>
                    <a:pt x="236148" y="67909"/>
                  </a:lnTo>
                  <a:lnTo>
                    <a:pt x="235534" y="67193"/>
                  </a:lnTo>
                  <a:lnTo>
                    <a:pt x="235330" y="67091"/>
                  </a:lnTo>
                  <a:close/>
                  <a:moveTo>
                    <a:pt x="236250" y="67091"/>
                  </a:moveTo>
                  <a:lnTo>
                    <a:pt x="237068" y="68420"/>
                  </a:lnTo>
                  <a:lnTo>
                    <a:pt x="237682" y="68625"/>
                  </a:lnTo>
                  <a:lnTo>
                    <a:pt x="237784" y="68625"/>
                  </a:lnTo>
                  <a:lnTo>
                    <a:pt x="237170" y="67295"/>
                  </a:lnTo>
                  <a:lnTo>
                    <a:pt x="236250" y="67091"/>
                  </a:lnTo>
                  <a:close/>
                  <a:moveTo>
                    <a:pt x="234307" y="67807"/>
                  </a:moveTo>
                  <a:lnTo>
                    <a:pt x="234205" y="67909"/>
                  </a:lnTo>
                  <a:lnTo>
                    <a:pt x="234409" y="68011"/>
                  </a:lnTo>
                  <a:lnTo>
                    <a:pt x="234409" y="69341"/>
                  </a:lnTo>
                  <a:lnTo>
                    <a:pt x="235330" y="68420"/>
                  </a:lnTo>
                  <a:lnTo>
                    <a:pt x="234307" y="67807"/>
                  </a:lnTo>
                  <a:close/>
                  <a:moveTo>
                    <a:pt x="236455" y="68216"/>
                  </a:moveTo>
                  <a:lnTo>
                    <a:pt x="236557" y="68625"/>
                  </a:lnTo>
                  <a:lnTo>
                    <a:pt x="236864" y="68932"/>
                  </a:lnTo>
                  <a:lnTo>
                    <a:pt x="237170" y="69750"/>
                  </a:lnTo>
                  <a:lnTo>
                    <a:pt x="237170" y="69341"/>
                  </a:lnTo>
                  <a:lnTo>
                    <a:pt x="237273" y="69545"/>
                  </a:lnTo>
                  <a:lnTo>
                    <a:pt x="237273" y="69443"/>
                  </a:lnTo>
                  <a:lnTo>
                    <a:pt x="237273" y="69136"/>
                  </a:lnTo>
                  <a:lnTo>
                    <a:pt x="237170" y="68932"/>
                  </a:lnTo>
                  <a:lnTo>
                    <a:pt x="236966" y="68318"/>
                  </a:lnTo>
                  <a:lnTo>
                    <a:pt x="236761" y="68420"/>
                  </a:lnTo>
                  <a:lnTo>
                    <a:pt x="236455" y="68216"/>
                  </a:lnTo>
                  <a:close/>
                  <a:moveTo>
                    <a:pt x="193091" y="69852"/>
                  </a:moveTo>
                  <a:lnTo>
                    <a:pt x="193295" y="70261"/>
                  </a:lnTo>
                  <a:lnTo>
                    <a:pt x="193160" y="69965"/>
                  </a:lnTo>
                  <a:lnTo>
                    <a:pt x="193091" y="69852"/>
                  </a:lnTo>
                  <a:close/>
                  <a:moveTo>
                    <a:pt x="235636" y="68830"/>
                  </a:moveTo>
                  <a:lnTo>
                    <a:pt x="235227" y="69034"/>
                  </a:lnTo>
                  <a:lnTo>
                    <a:pt x="235125" y="69239"/>
                  </a:lnTo>
                  <a:lnTo>
                    <a:pt x="235227" y="69648"/>
                  </a:lnTo>
                  <a:lnTo>
                    <a:pt x="234818" y="69955"/>
                  </a:lnTo>
                  <a:lnTo>
                    <a:pt x="235636" y="70670"/>
                  </a:lnTo>
                  <a:lnTo>
                    <a:pt x="235636" y="68830"/>
                  </a:lnTo>
                  <a:close/>
                  <a:moveTo>
                    <a:pt x="232057" y="68420"/>
                  </a:moveTo>
                  <a:lnTo>
                    <a:pt x="230318" y="71284"/>
                  </a:lnTo>
                  <a:lnTo>
                    <a:pt x="230318" y="71386"/>
                  </a:lnTo>
                  <a:lnTo>
                    <a:pt x="232261" y="69341"/>
                  </a:lnTo>
                  <a:lnTo>
                    <a:pt x="232057" y="68420"/>
                  </a:lnTo>
                  <a:close/>
                  <a:moveTo>
                    <a:pt x="196568" y="70159"/>
                  </a:moveTo>
                  <a:lnTo>
                    <a:pt x="196364" y="71795"/>
                  </a:lnTo>
                  <a:lnTo>
                    <a:pt x="196364" y="72000"/>
                  </a:lnTo>
                  <a:lnTo>
                    <a:pt x="197591" y="73739"/>
                  </a:lnTo>
                  <a:lnTo>
                    <a:pt x="198102" y="72102"/>
                  </a:lnTo>
                  <a:lnTo>
                    <a:pt x="196875" y="70261"/>
                  </a:lnTo>
                  <a:lnTo>
                    <a:pt x="196568" y="70159"/>
                  </a:lnTo>
                  <a:close/>
                  <a:moveTo>
                    <a:pt x="237580" y="70261"/>
                  </a:moveTo>
                  <a:lnTo>
                    <a:pt x="237580" y="70773"/>
                  </a:lnTo>
                  <a:lnTo>
                    <a:pt x="237068" y="70977"/>
                  </a:lnTo>
                  <a:lnTo>
                    <a:pt x="237068" y="71182"/>
                  </a:lnTo>
                  <a:lnTo>
                    <a:pt x="236761" y="71182"/>
                  </a:lnTo>
                  <a:lnTo>
                    <a:pt x="236659" y="71591"/>
                  </a:lnTo>
                  <a:lnTo>
                    <a:pt x="236250" y="71795"/>
                  </a:lnTo>
                  <a:lnTo>
                    <a:pt x="236148" y="71182"/>
                  </a:lnTo>
                  <a:lnTo>
                    <a:pt x="235739" y="71284"/>
                  </a:lnTo>
                  <a:lnTo>
                    <a:pt x="235432" y="71693"/>
                  </a:lnTo>
                  <a:lnTo>
                    <a:pt x="234818" y="71898"/>
                  </a:lnTo>
                  <a:lnTo>
                    <a:pt x="234818" y="72818"/>
                  </a:lnTo>
                  <a:lnTo>
                    <a:pt x="235227" y="72000"/>
                  </a:lnTo>
                  <a:lnTo>
                    <a:pt x="235636" y="72102"/>
                  </a:lnTo>
                  <a:lnTo>
                    <a:pt x="235943" y="72409"/>
                  </a:lnTo>
                  <a:lnTo>
                    <a:pt x="236045" y="72000"/>
                  </a:lnTo>
                  <a:lnTo>
                    <a:pt x="236455" y="72205"/>
                  </a:lnTo>
                  <a:lnTo>
                    <a:pt x="236557" y="73125"/>
                  </a:lnTo>
                  <a:lnTo>
                    <a:pt x="237580" y="73943"/>
                  </a:lnTo>
                  <a:lnTo>
                    <a:pt x="237682" y="73841"/>
                  </a:lnTo>
                  <a:lnTo>
                    <a:pt x="237682" y="74045"/>
                  </a:lnTo>
                  <a:lnTo>
                    <a:pt x="238091" y="73841"/>
                  </a:lnTo>
                  <a:lnTo>
                    <a:pt x="237784" y="73227"/>
                  </a:lnTo>
                  <a:lnTo>
                    <a:pt x="237989" y="72614"/>
                  </a:lnTo>
                  <a:lnTo>
                    <a:pt x="238295" y="72818"/>
                  </a:lnTo>
                  <a:lnTo>
                    <a:pt x="238500" y="73534"/>
                  </a:lnTo>
                  <a:lnTo>
                    <a:pt x="238500" y="73023"/>
                  </a:lnTo>
                  <a:lnTo>
                    <a:pt x="238807" y="72614"/>
                  </a:lnTo>
                  <a:lnTo>
                    <a:pt x="238500" y="71284"/>
                  </a:lnTo>
                  <a:lnTo>
                    <a:pt x="238398" y="71182"/>
                  </a:lnTo>
                  <a:lnTo>
                    <a:pt x="238500" y="70977"/>
                  </a:lnTo>
                  <a:lnTo>
                    <a:pt x="238295" y="70466"/>
                  </a:lnTo>
                  <a:lnTo>
                    <a:pt x="237580" y="70261"/>
                  </a:lnTo>
                  <a:close/>
                  <a:moveTo>
                    <a:pt x="240443" y="77727"/>
                  </a:moveTo>
                  <a:lnTo>
                    <a:pt x="240034" y="78545"/>
                  </a:lnTo>
                  <a:lnTo>
                    <a:pt x="240136" y="80284"/>
                  </a:lnTo>
                  <a:lnTo>
                    <a:pt x="240852" y="81000"/>
                  </a:lnTo>
                  <a:lnTo>
                    <a:pt x="240341" y="79568"/>
                  </a:lnTo>
                  <a:lnTo>
                    <a:pt x="241261" y="79773"/>
                  </a:lnTo>
                  <a:lnTo>
                    <a:pt x="240750" y="79057"/>
                  </a:lnTo>
                  <a:lnTo>
                    <a:pt x="241057" y="78852"/>
                  </a:lnTo>
                  <a:lnTo>
                    <a:pt x="241057" y="78545"/>
                  </a:lnTo>
                  <a:lnTo>
                    <a:pt x="240136" y="78955"/>
                  </a:lnTo>
                  <a:lnTo>
                    <a:pt x="240443" y="78648"/>
                  </a:lnTo>
                  <a:lnTo>
                    <a:pt x="240443" y="78341"/>
                  </a:lnTo>
                  <a:lnTo>
                    <a:pt x="240341" y="78136"/>
                  </a:lnTo>
                  <a:lnTo>
                    <a:pt x="240443" y="77727"/>
                  </a:lnTo>
                  <a:close/>
                  <a:moveTo>
                    <a:pt x="79875" y="80284"/>
                  </a:moveTo>
                  <a:lnTo>
                    <a:pt x="78136" y="80591"/>
                  </a:lnTo>
                  <a:lnTo>
                    <a:pt x="78136" y="81511"/>
                  </a:lnTo>
                  <a:lnTo>
                    <a:pt x="78443" y="81818"/>
                  </a:lnTo>
                  <a:lnTo>
                    <a:pt x="79466" y="81511"/>
                  </a:lnTo>
                  <a:lnTo>
                    <a:pt x="80080" y="80693"/>
                  </a:lnTo>
                  <a:lnTo>
                    <a:pt x="79875" y="80284"/>
                  </a:lnTo>
                  <a:close/>
                  <a:moveTo>
                    <a:pt x="261102" y="82636"/>
                  </a:moveTo>
                  <a:lnTo>
                    <a:pt x="261000" y="82841"/>
                  </a:lnTo>
                  <a:lnTo>
                    <a:pt x="261205" y="82943"/>
                  </a:lnTo>
                  <a:lnTo>
                    <a:pt x="261307" y="82943"/>
                  </a:lnTo>
                  <a:lnTo>
                    <a:pt x="261102" y="82636"/>
                  </a:lnTo>
                  <a:close/>
                  <a:moveTo>
                    <a:pt x="220500" y="81818"/>
                  </a:moveTo>
                  <a:lnTo>
                    <a:pt x="219784" y="81920"/>
                  </a:lnTo>
                  <a:lnTo>
                    <a:pt x="219886" y="82227"/>
                  </a:lnTo>
                  <a:lnTo>
                    <a:pt x="220295" y="82534"/>
                  </a:lnTo>
                  <a:lnTo>
                    <a:pt x="220295" y="82841"/>
                  </a:lnTo>
                  <a:lnTo>
                    <a:pt x="221011" y="83148"/>
                  </a:lnTo>
                  <a:lnTo>
                    <a:pt x="221114" y="82636"/>
                  </a:lnTo>
                  <a:lnTo>
                    <a:pt x="220500" y="81818"/>
                  </a:lnTo>
                  <a:close/>
                  <a:moveTo>
                    <a:pt x="222034" y="82636"/>
                  </a:moveTo>
                  <a:lnTo>
                    <a:pt x="221830" y="83045"/>
                  </a:lnTo>
                  <a:lnTo>
                    <a:pt x="221830" y="83352"/>
                  </a:lnTo>
                  <a:lnTo>
                    <a:pt x="222341" y="83148"/>
                  </a:lnTo>
                  <a:lnTo>
                    <a:pt x="222034" y="82636"/>
                  </a:lnTo>
                  <a:close/>
                  <a:moveTo>
                    <a:pt x="240443" y="83352"/>
                  </a:moveTo>
                  <a:lnTo>
                    <a:pt x="240239" y="83659"/>
                  </a:lnTo>
                  <a:lnTo>
                    <a:pt x="240239" y="83659"/>
                  </a:lnTo>
                  <a:lnTo>
                    <a:pt x="240545" y="83352"/>
                  </a:lnTo>
                  <a:close/>
                  <a:moveTo>
                    <a:pt x="240852" y="82943"/>
                  </a:moveTo>
                  <a:lnTo>
                    <a:pt x="240545" y="83352"/>
                  </a:lnTo>
                  <a:lnTo>
                    <a:pt x="240750" y="83557"/>
                  </a:lnTo>
                  <a:lnTo>
                    <a:pt x="241261" y="83455"/>
                  </a:lnTo>
                  <a:lnTo>
                    <a:pt x="241670" y="83557"/>
                  </a:lnTo>
                  <a:lnTo>
                    <a:pt x="241977" y="83455"/>
                  </a:lnTo>
                  <a:lnTo>
                    <a:pt x="242898" y="83966"/>
                  </a:lnTo>
                  <a:lnTo>
                    <a:pt x="241568" y="82943"/>
                  </a:lnTo>
                  <a:close/>
                  <a:moveTo>
                    <a:pt x="230011" y="72818"/>
                  </a:moveTo>
                  <a:lnTo>
                    <a:pt x="228989" y="74250"/>
                  </a:lnTo>
                  <a:lnTo>
                    <a:pt x="228989" y="74761"/>
                  </a:lnTo>
                  <a:lnTo>
                    <a:pt x="228477" y="74966"/>
                  </a:lnTo>
                  <a:lnTo>
                    <a:pt x="228477" y="74864"/>
                  </a:lnTo>
                  <a:lnTo>
                    <a:pt x="227557" y="75375"/>
                  </a:lnTo>
                  <a:lnTo>
                    <a:pt x="227045" y="76398"/>
                  </a:lnTo>
                  <a:lnTo>
                    <a:pt x="225409" y="77216"/>
                  </a:lnTo>
                  <a:lnTo>
                    <a:pt x="225307" y="77420"/>
                  </a:lnTo>
                  <a:lnTo>
                    <a:pt x="225205" y="77523"/>
                  </a:lnTo>
                  <a:lnTo>
                    <a:pt x="225205" y="78648"/>
                  </a:lnTo>
                  <a:lnTo>
                    <a:pt x="223670" y="77932"/>
                  </a:lnTo>
                  <a:lnTo>
                    <a:pt x="223159" y="78750"/>
                  </a:lnTo>
                  <a:lnTo>
                    <a:pt x="223261" y="78750"/>
                  </a:lnTo>
                  <a:lnTo>
                    <a:pt x="224182" y="83045"/>
                  </a:lnTo>
                  <a:lnTo>
                    <a:pt x="225511" y="83045"/>
                  </a:lnTo>
                  <a:lnTo>
                    <a:pt x="225818" y="83659"/>
                  </a:lnTo>
                  <a:lnTo>
                    <a:pt x="226023" y="83455"/>
                  </a:lnTo>
                  <a:lnTo>
                    <a:pt x="226330" y="83557"/>
                  </a:lnTo>
                  <a:lnTo>
                    <a:pt x="226739" y="83045"/>
                  </a:lnTo>
                  <a:lnTo>
                    <a:pt x="227352" y="83557"/>
                  </a:lnTo>
                  <a:lnTo>
                    <a:pt x="227966" y="83352"/>
                  </a:lnTo>
                  <a:lnTo>
                    <a:pt x="228068" y="83557"/>
                  </a:lnTo>
                  <a:lnTo>
                    <a:pt x="228375" y="84273"/>
                  </a:lnTo>
                  <a:lnTo>
                    <a:pt x="229398" y="83659"/>
                  </a:lnTo>
                  <a:lnTo>
                    <a:pt x="229705" y="83250"/>
                  </a:lnTo>
                  <a:lnTo>
                    <a:pt x="229602" y="83045"/>
                  </a:lnTo>
                  <a:lnTo>
                    <a:pt x="229807" y="82739"/>
                  </a:lnTo>
                  <a:lnTo>
                    <a:pt x="229705" y="81920"/>
                  </a:lnTo>
                  <a:lnTo>
                    <a:pt x="230216" y="81102"/>
                  </a:lnTo>
                  <a:lnTo>
                    <a:pt x="230523" y="81102"/>
                  </a:lnTo>
                  <a:lnTo>
                    <a:pt x="231239" y="78955"/>
                  </a:lnTo>
                  <a:lnTo>
                    <a:pt x="231852" y="79159"/>
                  </a:lnTo>
                  <a:lnTo>
                    <a:pt x="232159" y="79159"/>
                  </a:lnTo>
                  <a:lnTo>
                    <a:pt x="232057" y="78955"/>
                  </a:lnTo>
                  <a:lnTo>
                    <a:pt x="231136" y="77932"/>
                  </a:lnTo>
                  <a:lnTo>
                    <a:pt x="231034" y="77114"/>
                  </a:lnTo>
                  <a:lnTo>
                    <a:pt x="230932" y="77011"/>
                  </a:lnTo>
                  <a:lnTo>
                    <a:pt x="230420" y="76295"/>
                  </a:lnTo>
                  <a:lnTo>
                    <a:pt x="230830" y="76193"/>
                  </a:lnTo>
                  <a:lnTo>
                    <a:pt x="230932" y="76091"/>
                  </a:lnTo>
                  <a:lnTo>
                    <a:pt x="230932" y="75580"/>
                  </a:lnTo>
                  <a:lnTo>
                    <a:pt x="231750" y="75580"/>
                  </a:lnTo>
                  <a:lnTo>
                    <a:pt x="231443" y="74864"/>
                  </a:lnTo>
                  <a:lnTo>
                    <a:pt x="232261" y="74761"/>
                  </a:lnTo>
                  <a:lnTo>
                    <a:pt x="231136" y="73841"/>
                  </a:lnTo>
                  <a:lnTo>
                    <a:pt x="230727" y="73943"/>
                  </a:lnTo>
                  <a:lnTo>
                    <a:pt x="230420" y="72920"/>
                  </a:lnTo>
                  <a:lnTo>
                    <a:pt x="230011" y="73227"/>
                  </a:lnTo>
                  <a:lnTo>
                    <a:pt x="230011" y="72818"/>
                  </a:lnTo>
                  <a:close/>
                  <a:moveTo>
                    <a:pt x="261307" y="82943"/>
                  </a:moveTo>
                  <a:lnTo>
                    <a:pt x="262841" y="84989"/>
                  </a:lnTo>
                  <a:lnTo>
                    <a:pt x="262330" y="83761"/>
                  </a:lnTo>
                  <a:lnTo>
                    <a:pt x="261307" y="82943"/>
                  </a:lnTo>
                  <a:close/>
                  <a:moveTo>
                    <a:pt x="237682" y="78239"/>
                  </a:moveTo>
                  <a:lnTo>
                    <a:pt x="237170" y="78852"/>
                  </a:lnTo>
                  <a:lnTo>
                    <a:pt x="234614" y="78955"/>
                  </a:lnTo>
                  <a:lnTo>
                    <a:pt x="234409" y="78750"/>
                  </a:lnTo>
                  <a:lnTo>
                    <a:pt x="233489" y="79057"/>
                  </a:lnTo>
                  <a:lnTo>
                    <a:pt x="232977" y="79875"/>
                  </a:lnTo>
                  <a:lnTo>
                    <a:pt x="232977" y="80080"/>
                  </a:lnTo>
                  <a:lnTo>
                    <a:pt x="232875" y="80182"/>
                  </a:lnTo>
                  <a:lnTo>
                    <a:pt x="232977" y="80898"/>
                  </a:lnTo>
                  <a:lnTo>
                    <a:pt x="232875" y="80693"/>
                  </a:lnTo>
                  <a:lnTo>
                    <a:pt x="232057" y="83455"/>
                  </a:lnTo>
                  <a:lnTo>
                    <a:pt x="232364" y="83659"/>
                  </a:lnTo>
                  <a:lnTo>
                    <a:pt x="232568" y="83864"/>
                  </a:lnTo>
                  <a:lnTo>
                    <a:pt x="232670" y="85909"/>
                  </a:lnTo>
                  <a:lnTo>
                    <a:pt x="233386" y="85807"/>
                  </a:lnTo>
                  <a:lnTo>
                    <a:pt x="233591" y="82841"/>
                  </a:lnTo>
                  <a:lnTo>
                    <a:pt x="234409" y="84784"/>
                  </a:lnTo>
                  <a:lnTo>
                    <a:pt x="235636" y="84375"/>
                  </a:lnTo>
                  <a:lnTo>
                    <a:pt x="235125" y="83761"/>
                  </a:lnTo>
                  <a:lnTo>
                    <a:pt x="235227" y="83148"/>
                  </a:lnTo>
                  <a:lnTo>
                    <a:pt x="234409" y="82023"/>
                  </a:lnTo>
                  <a:lnTo>
                    <a:pt x="234614" y="82023"/>
                  </a:lnTo>
                  <a:lnTo>
                    <a:pt x="235739" y="81000"/>
                  </a:lnTo>
                  <a:lnTo>
                    <a:pt x="236148" y="81102"/>
                  </a:lnTo>
                  <a:lnTo>
                    <a:pt x="235739" y="80693"/>
                  </a:lnTo>
                  <a:lnTo>
                    <a:pt x="235739" y="80795"/>
                  </a:lnTo>
                  <a:lnTo>
                    <a:pt x="233591" y="81205"/>
                  </a:lnTo>
                  <a:lnTo>
                    <a:pt x="233284" y="80693"/>
                  </a:lnTo>
                  <a:lnTo>
                    <a:pt x="233182" y="80182"/>
                  </a:lnTo>
                  <a:lnTo>
                    <a:pt x="235943" y="79568"/>
                  </a:lnTo>
                  <a:lnTo>
                    <a:pt x="236455" y="79773"/>
                  </a:lnTo>
                  <a:lnTo>
                    <a:pt x="236966" y="79670"/>
                  </a:lnTo>
                  <a:lnTo>
                    <a:pt x="237580" y="79057"/>
                  </a:lnTo>
                  <a:lnTo>
                    <a:pt x="237682" y="78239"/>
                  </a:lnTo>
                  <a:close/>
                  <a:moveTo>
                    <a:pt x="210580" y="74659"/>
                  </a:moveTo>
                  <a:lnTo>
                    <a:pt x="219068" y="86114"/>
                  </a:lnTo>
                  <a:lnTo>
                    <a:pt x="219068" y="85705"/>
                  </a:lnTo>
                  <a:lnTo>
                    <a:pt x="219989" y="86011"/>
                  </a:lnTo>
                  <a:lnTo>
                    <a:pt x="220398" y="83250"/>
                  </a:lnTo>
                  <a:lnTo>
                    <a:pt x="219273" y="82636"/>
                  </a:lnTo>
                  <a:lnTo>
                    <a:pt x="218966" y="81102"/>
                  </a:lnTo>
                  <a:lnTo>
                    <a:pt x="218352" y="80898"/>
                  </a:lnTo>
                  <a:lnTo>
                    <a:pt x="218148" y="80489"/>
                  </a:lnTo>
                  <a:lnTo>
                    <a:pt x="218455" y="79977"/>
                  </a:lnTo>
                  <a:lnTo>
                    <a:pt x="218045" y="79466"/>
                  </a:lnTo>
                  <a:lnTo>
                    <a:pt x="217330" y="79773"/>
                  </a:lnTo>
                  <a:lnTo>
                    <a:pt x="217739" y="79568"/>
                  </a:lnTo>
                  <a:lnTo>
                    <a:pt x="216102" y="77830"/>
                  </a:lnTo>
                  <a:lnTo>
                    <a:pt x="215795" y="78034"/>
                  </a:lnTo>
                  <a:lnTo>
                    <a:pt x="212625" y="74659"/>
                  </a:lnTo>
                  <a:close/>
                  <a:moveTo>
                    <a:pt x="246170" y="85602"/>
                  </a:moveTo>
                  <a:lnTo>
                    <a:pt x="245864" y="85909"/>
                  </a:lnTo>
                  <a:lnTo>
                    <a:pt x="245761" y="86216"/>
                  </a:lnTo>
                  <a:lnTo>
                    <a:pt x="246273" y="86523"/>
                  </a:lnTo>
                  <a:lnTo>
                    <a:pt x="246375" y="86011"/>
                  </a:lnTo>
                  <a:lnTo>
                    <a:pt x="246170" y="85602"/>
                  </a:lnTo>
                  <a:close/>
                  <a:moveTo>
                    <a:pt x="261818" y="84375"/>
                  </a:moveTo>
                  <a:lnTo>
                    <a:pt x="261716" y="84886"/>
                  </a:lnTo>
                  <a:lnTo>
                    <a:pt x="260693" y="85705"/>
                  </a:lnTo>
                  <a:lnTo>
                    <a:pt x="260386" y="85705"/>
                  </a:lnTo>
                  <a:lnTo>
                    <a:pt x="260284" y="85193"/>
                  </a:lnTo>
                  <a:lnTo>
                    <a:pt x="260080" y="85705"/>
                  </a:lnTo>
                  <a:lnTo>
                    <a:pt x="258648" y="85909"/>
                  </a:lnTo>
                  <a:lnTo>
                    <a:pt x="259773" y="86523"/>
                  </a:lnTo>
                  <a:lnTo>
                    <a:pt x="262125" y="85500"/>
                  </a:lnTo>
                  <a:lnTo>
                    <a:pt x="262023" y="85295"/>
                  </a:lnTo>
                  <a:lnTo>
                    <a:pt x="262227" y="85193"/>
                  </a:lnTo>
                  <a:lnTo>
                    <a:pt x="262432" y="84477"/>
                  </a:lnTo>
                  <a:lnTo>
                    <a:pt x="261818" y="84375"/>
                  </a:lnTo>
                  <a:close/>
                  <a:moveTo>
                    <a:pt x="249239" y="87852"/>
                  </a:moveTo>
                  <a:lnTo>
                    <a:pt x="248727" y="88670"/>
                  </a:lnTo>
                  <a:lnTo>
                    <a:pt x="249648" y="88466"/>
                  </a:lnTo>
                  <a:lnTo>
                    <a:pt x="249239" y="87852"/>
                  </a:lnTo>
                  <a:close/>
                  <a:moveTo>
                    <a:pt x="220500" y="86216"/>
                  </a:moveTo>
                  <a:lnTo>
                    <a:pt x="219682" y="86932"/>
                  </a:lnTo>
                  <a:lnTo>
                    <a:pt x="219784" y="87136"/>
                  </a:lnTo>
                  <a:lnTo>
                    <a:pt x="227250" y="88875"/>
                  </a:lnTo>
                  <a:lnTo>
                    <a:pt x="227761" y="88977"/>
                  </a:lnTo>
                  <a:lnTo>
                    <a:pt x="227761" y="88057"/>
                  </a:lnTo>
                  <a:lnTo>
                    <a:pt x="226330" y="87648"/>
                  </a:lnTo>
                  <a:lnTo>
                    <a:pt x="226125" y="87136"/>
                  </a:lnTo>
                  <a:lnTo>
                    <a:pt x="224591" y="86727"/>
                  </a:lnTo>
                  <a:lnTo>
                    <a:pt x="224284" y="87136"/>
                  </a:lnTo>
                  <a:lnTo>
                    <a:pt x="222648" y="87034"/>
                  </a:lnTo>
                  <a:lnTo>
                    <a:pt x="222239" y="86523"/>
                  </a:lnTo>
                  <a:lnTo>
                    <a:pt x="220500" y="86216"/>
                  </a:lnTo>
                  <a:close/>
                  <a:moveTo>
                    <a:pt x="227761" y="88364"/>
                  </a:moveTo>
                  <a:lnTo>
                    <a:pt x="228273" y="89080"/>
                  </a:lnTo>
                  <a:lnTo>
                    <a:pt x="228886" y="88670"/>
                  </a:lnTo>
                  <a:lnTo>
                    <a:pt x="228375" y="88364"/>
                  </a:lnTo>
                  <a:close/>
                  <a:moveTo>
                    <a:pt x="229398" y="88568"/>
                  </a:moveTo>
                  <a:lnTo>
                    <a:pt x="228989" y="88977"/>
                  </a:lnTo>
                  <a:lnTo>
                    <a:pt x="229705" y="89182"/>
                  </a:lnTo>
                  <a:lnTo>
                    <a:pt x="229807" y="88670"/>
                  </a:lnTo>
                  <a:lnTo>
                    <a:pt x="229398" y="88568"/>
                  </a:lnTo>
                  <a:close/>
                  <a:moveTo>
                    <a:pt x="235432" y="88466"/>
                  </a:moveTo>
                  <a:lnTo>
                    <a:pt x="234920" y="88875"/>
                  </a:lnTo>
                  <a:lnTo>
                    <a:pt x="233182" y="88568"/>
                  </a:lnTo>
                  <a:lnTo>
                    <a:pt x="232670" y="88670"/>
                  </a:lnTo>
                  <a:lnTo>
                    <a:pt x="232670" y="89182"/>
                  </a:lnTo>
                  <a:lnTo>
                    <a:pt x="234716" y="88977"/>
                  </a:lnTo>
                  <a:lnTo>
                    <a:pt x="235330" y="88773"/>
                  </a:lnTo>
                  <a:lnTo>
                    <a:pt x="235534" y="88466"/>
                  </a:lnTo>
                  <a:close/>
                  <a:moveTo>
                    <a:pt x="230932" y="88364"/>
                  </a:moveTo>
                  <a:lnTo>
                    <a:pt x="230727" y="88568"/>
                  </a:lnTo>
                  <a:lnTo>
                    <a:pt x="231034" y="88977"/>
                  </a:lnTo>
                  <a:lnTo>
                    <a:pt x="231034" y="88977"/>
                  </a:lnTo>
                  <a:lnTo>
                    <a:pt x="230420" y="88670"/>
                  </a:lnTo>
                  <a:lnTo>
                    <a:pt x="230011" y="89386"/>
                  </a:lnTo>
                  <a:lnTo>
                    <a:pt x="231341" y="88977"/>
                  </a:lnTo>
                  <a:lnTo>
                    <a:pt x="231750" y="89080"/>
                  </a:lnTo>
                  <a:lnTo>
                    <a:pt x="231648" y="88977"/>
                  </a:lnTo>
                  <a:lnTo>
                    <a:pt x="231750" y="88977"/>
                  </a:lnTo>
                  <a:lnTo>
                    <a:pt x="231648" y="88670"/>
                  </a:lnTo>
                  <a:lnTo>
                    <a:pt x="231239" y="88568"/>
                  </a:lnTo>
                  <a:lnTo>
                    <a:pt x="230932" y="88364"/>
                  </a:lnTo>
                  <a:close/>
                  <a:moveTo>
                    <a:pt x="232670" y="89591"/>
                  </a:moveTo>
                  <a:lnTo>
                    <a:pt x="231750" y="89898"/>
                  </a:lnTo>
                  <a:lnTo>
                    <a:pt x="232670" y="90409"/>
                  </a:lnTo>
                  <a:lnTo>
                    <a:pt x="233284" y="90205"/>
                  </a:lnTo>
                  <a:lnTo>
                    <a:pt x="232670" y="89591"/>
                  </a:lnTo>
                  <a:close/>
                  <a:moveTo>
                    <a:pt x="239420" y="88670"/>
                  </a:moveTo>
                  <a:lnTo>
                    <a:pt x="237989" y="88773"/>
                  </a:lnTo>
                  <a:lnTo>
                    <a:pt x="235943" y="90102"/>
                  </a:lnTo>
                  <a:lnTo>
                    <a:pt x="235943" y="90511"/>
                  </a:lnTo>
                  <a:lnTo>
                    <a:pt x="237068" y="90102"/>
                  </a:lnTo>
                  <a:lnTo>
                    <a:pt x="239420" y="88670"/>
                  </a:lnTo>
                  <a:close/>
                  <a:moveTo>
                    <a:pt x="244636" y="80386"/>
                  </a:moveTo>
                  <a:lnTo>
                    <a:pt x="243205" y="81409"/>
                  </a:lnTo>
                  <a:lnTo>
                    <a:pt x="243920" y="81614"/>
                  </a:lnTo>
                  <a:lnTo>
                    <a:pt x="244125" y="82125"/>
                  </a:lnTo>
                  <a:lnTo>
                    <a:pt x="244432" y="82330"/>
                  </a:lnTo>
                  <a:lnTo>
                    <a:pt x="245761" y="82227"/>
                  </a:lnTo>
                  <a:lnTo>
                    <a:pt x="245557" y="82739"/>
                  </a:lnTo>
                  <a:lnTo>
                    <a:pt x="244023" y="82943"/>
                  </a:lnTo>
                  <a:lnTo>
                    <a:pt x="244534" y="83250"/>
                  </a:lnTo>
                  <a:lnTo>
                    <a:pt x="244739" y="84068"/>
                  </a:lnTo>
                  <a:lnTo>
                    <a:pt x="245659" y="83148"/>
                  </a:lnTo>
                  <a:lnTo>
                    <a:pt x="245761" y="83966"/>
                  </a:lnTo>
                  <a:lnTo>
                    <a:pt x="246580" y="84068"/>
                  </a:lnTo>
                  <a:lnTo>
                    <a:pt x="246784" y="84580"/>
                  </a:lnTo>
                  <a:lnTo>
                    <a:pt x="249648" y="85909"/>
                  </a:lnTo>
                  <a:lnTo>
                    <a:pt x="249443" y="86011"/>
                  </a:lnTo>
                  <a:lnTo>
                    <a:pt x="249648" y="86011"/>
                  </a:lnTo>
                  <a:lnTo>
                    <a:pt x="250261" y="87443"/>
                  </a:lnTo>
                  <a:lnTo>
                    <a:pt x="249852" y="87545"/>
                  </a:lnTo>
                  <a:lnTo>
                    <a:pt x="250057" y="88057"/>
                  </a:lnTo>
                  <a:lnTo>
                    <a:pt x="249852" y="88466"/>
                  </a:lnTo>
                  <a:lnTo>
                    <a:pt x="251080" y="88159"/>
                  </a:lnTo>
                  <a:lnTo>
                    <a:pt x="251080" y="88670"/>
                  </a:lnTo>
                  <a:lnTo>
                    <a:pt x="251693" y="89386"/>
                  </a:lnTo>
                  <a:lnTo>
                    <a:pt x="253534" y="89386"/>
                  </a:lnTo>
                  <a:lnTo>
                    <a:pt x="253841" y="88977"/>
                  </a:lnTo>
                  <a:lnTo>
                    <a:pt x="252920" y="88466"/>
                  </a:lnTo>
                  <a:lnTo>
                    <a:pt x="254455" y="88261"/>
                  </a:lnTo>
                  <a:lnTo>
                    <a:pt x="254455" y="88159"/>
                  </a:lnTo>
                  <a:lnTo>
                    <a:pt x="254557" y="88159"/>
                  </a:lnTo>
                  <a:lnTo>
                    <a:pt x="254250" y="87750"/>
                  </a:lnTo>
                  <a:lnTo>
                    <a:pt x="254864" y="87955"/>
                  </a:lnTo>
                  <a:lnTo>
                    <a:pt x="255375" y="87852"/>
                  </a:lnTo>
                  <a:lnTo>
                    <a:pt x="257625" y="90307"/>
                  </a:lnTo>
                  <a:lnTo>
                    <a:pt x="260080" y="91023"/>
                  </a:lnTo>
                  <a:lnTo>
                    <a:pt x="260080" y="90716"/>
                  </a:lnTo>
                  <a:lnTo>
                    <a:pt x="260489" y="90614"/>
                  </a:lnTo>
                  <a:lnTo>
                    <a:pt x="259670" y="90307"/>
                  </a:lnTo>
                  <a:lnTo>
                    <a:pt x="259670" y="90102"/>
                  </a:lnTo>
                  <a:lnTo>
                    <a:pt x="259159" y="89386"/>
                  </a:lnTo>
                  <a:lnTo>
                    <a:pt x="258648" y="89386"/>
                  </a:lnTo>
                  <a:lnTo>
                    <a:pt x="257318" y="87034"/>
                  </a:lnTo>
                  <a:lnTo>
                    <a:pt x="258136" y="86932"/>
                  </a:lnTo>
                  <a:lnTo>
                    <a:pt x="256500" y="85705"/>
                  </a:lnTo>
                  <a:lnTo>
                    <a:pt x="256398" y="84989"/>
                  </a:lnTo>
                  <a:lnTo>
                    <a:pt x="251898" y="82636"/>
                  </a:lnTo>
                  <a:lnTo>
                    <a:pt x="249545" y="81716"/>
                  </a:lnTo>
                  <a:lnTo>
                    <a:pt x="248727" y="81920"/>
                  </a:lnTo>
                  <a:lnTo>
                    <a:pt x="248727" y="82125"/>
                  </a:lnTo>
                  <a:lnTo>
                    <a:pt x="246989" y="83455"/>
                  </a:lnTo>
                  <a:lnTo>
                    <a:pt x="246375" y="82636"/>
                  </a:lnTo>
                  <a:lnTo>
                    <a:pt x="246273" y="82943"/>
                  </a:lnTo>
                  <a:lnTo>
                    <a:pt x="245864" y="80795"/>
                  </a:lnTo>
                  <a:lnTo>
                    <a:pt x="244636" y="80386"/>
                  </a:lnTo>
                  <a:close/>
                  <a:moveTo>
                    <a:pt x="242693" y="91534"/>
                  </a:moveTo>
                  <a:lnTo>
                    <a:pt x="241977" y="91636"/>
                  </a:lnTo>
                  <a:lnTo>
                    <a:pt x="241977" y="91841"/>
                  </a:lnTo>
                  <a:lnTo>
                    <a:pt x="242386" y="92352"/>
                  </a:lnTo>
                  <a:lnTo>
                    <a:pt x="242693" y="91534"/>
                  </a:lnTo>
                  <a:close/>
                  <a:moveTo>
                    <a:pt x="285750" y="96648"/>
                  </a:moveTo>
                  <a:lnTo>
                    <a:pt x="285545" y="96750"/>
                  </a:lnTo>
                  <a:lnTo>
                    <a:pt x="284420" y="97159"/>
                  </a:lnTo>
                  <a:lnTo>
                    <a:pt x="284216" y="97261"/>
                  </a:lnTo>
                  <a:lnTo>
                    <a:pt x="285239" y="97261"/>
                  </a:lnTo>
                  <a:lnTo>
                    <a:pt x="285750" y="96648"/>
                  </a:lnTo>
                  <a:close/>
                  <a:moveTo>
                    <a:pt x="285648" y="97057"/>
                  </a:moveTo>
                  <a:lnTo>
                    <a:pt x="285239" y="97261"/>
                  </a:lnTo>
                  <a:lnTo>
                    <a:pt x="285545" y="97261"/>
                  </a:lnTo>
                  <a:lnTo>
                    <a:pt x="285648" y="97057"/>
                  </a:lnTo>
                  <a:close/>
                  <a:moveTo>
                    <a:pt x="284011" y="98080"/>
                  </a:moveTo>
                  <a:lnTo>
                    <a:pt x="282886" y="98591"/>
                  </a:lnTo>
                  <a:lnTo>
                    <a:pt x="283807" y="98693"/>
                  </a:lnTo>
                  <a:lnTo>
                    <a:pt x="284114" y="98386"/>
                  </a:lnTo>
                  <a:lnTo>
                    <a:pt x="284011" y="98080"/>
                  </a:lnTo>
                  <a:close/>
                  <a:moveTo>
                    <a:pt x="168852" y="92761"/>
                  </a:moveTo>
                  <a:lnTo>
                    <a:pt x="168136" y="92864"/>
                  </a:lnTo>
                  <a:lnTo>
                    <a:pt x="168136" y="93682"/>
                  </a:lnTo>
                  <a:lnTo>
                    <a:pt x="167318" y="94295"/>
                  </a:lnTo>
                  <a:lnTo>
                    <a:pt x="167318" y="95114"/>
                  </a:lnTo>
                  <a:lnTo>
                    <a:pt x="166807" y="95420"/>
                  </a:lnTo>
                  <a:lnTo>
                    <a:pt x="166705" y="95318"/>
                  </a:lnTo>
                  <a:lnTo>
                    <a:pt x="165886" y="96341"/>
                  </a:lnTo>
                  <a:lnTo>
                    <a:pt x="165375" y="96239"/>
                  </a:lnTo>
                  <a:lnTo>
                    <a:pt x="164966" y="96443"/>
                  </a:lnTo>
                  <a:lnTo>
                    <a:pt x="164761" y="96443"/>
                  </a:lnTo>
                  <a:lnTo>
                    <a:pt x="164045" y="96955"/>
                  </a:lnTo>
                  <a:lnTo>
                    <a:pt x="163330" y="105955"/>
                  </a:lnTo>
                  <a:lnTo>
                    <a:pt x="163943" y="106261"/>
                  </a:lnTo>
                  <a:lnTo>
                    <a:pt x="165477" y="105852"/>
                  </a:lnTo>
                  <a:lnTo>
                    <a:pt x="168750" y="96034"/>
                  </a:lnTo>
                  <a:lnTo>
                    <a:pt x="169159" y="96341"/>
                  </a:lnTo>
                  <a:lnTo>
                    <a:pt x="169364" y="96136"/>
                  </a:lnTo>
                  <a:lnTo>
                    <a:pt x="168852" y="92761"/>
                  </a:lnTo>
                  <a:close/>
                  <a:moveTo>
                    <a:pt x="79364" y="112500"/>
                  </a:moveTo>
                  <a:lnTo>
                    <a:pt x="79057" y="112807"/>
                  </a:lnTo>
                  <a:lnTo>
                    <a:pt x="79057" y="113011"/>
                  </a:lnTo>
                  <a:lnTo>
                    <a:pt x="79364" y="112500"/>
                  </a:lnTo>
                  <a:close/>
                  <a:moveTo>
                    <a:pt x="185114" y="3784"/>
                  </a:moveTo>
                  <a:lnTo>
                    <a:pt x="184091" y="4398"/>
                  </a:lnTo>
                  <a:lnTo>
                    <a:pt x="184909" y="4705"/>
                  </a:lnTo>
                  <a:lnTo>
                    <a:pt x="183273" y="4705"/>
                  </a:lnTo>
                  <a:lnTo>
                    <a:pt x="183989" y="5011"/>
                  </a:lnTo>
                  <a:lnTo>
                    <a:pt x="184193" y="5318"/>
                  </a:lnTo>
                  <a:lnTo>
                    <a:pt x="184193" y="5318"/>
                  </a:lnTo>
                  <a:lnTo>
                    <a:pt x="183784" y="5011"/>
                  </a:lnTo>
                  <a:lnTo>
                    <a:pt x="180102" y="5114"/>
                  </a:lnTo>
                  <a:lnTo>
                    <a:pt x="180920" y="5216"/>
                  </a:lnTo>
                  <a:lnTo>
                    <a:pt x="177341" y="5727"/>
                  </a:lnTo>
                  <a:lnTo>
                    <a:pt x="177545" y="5932"/>
                  </a:lnTo>
                  <a:lnTo>
                    <a:pt x="177341" y="6239"/>
                  </a:lnTo>
                  <a:lnTo>
                    <a:pt x="176830" y="6136"/>
                  </a:lnTo>
                  <a:lnTo>
                    <a:pt x="177955" y="6443"/>
                  </a:lnTo>
                  <a:lnTo>
                    <a:pt x="177239" y="6443"/>
                  </a:lnTo>
                  <a:lnTo>
                    <a:pt x="178568" y="6852"/>
                  </a:lnTo>
                  <a:lnTo>
                    <a:pt x="178057" y="7057"/>
                  </a:lnTo>
                  <a:lnTo>
                    <a:pt x="178261" y="6852"/>
                  </a:lnTo>
                  <a:lnTo>
                    <a:pt x="178261" y="6852"/>
                  </a:lnTo>
                  <a:lnTo>
                    <a:pt x="174477" y="7057"/>
                  </a:lnTo>
                  <a:lnTo>
                    <a:pt x="174682" y="7466"/>
                  </a:lnTo>
                  <a:lnTo>
                    <a:pt x="174989" y="7568"/>
                  </a:lnTo>
                  <a:lnTo>
                    <a:pt x="175091" y="7773"/>
                  </a:lnTo>
                  <a:lnTo>
                    <a:pt x="177648" y="8795"/>
                  </a:lnTo>
                  <a:lnTo>
                    <a:pt x="177852" y="9205"/>
                  </a:lnTo>
                  <a:lnTo>
                    <a:pt x="178261" y="9511"/>
                  </a:lnTo>
                  <a:lnTo>
                    <a:pt x="178169" y="9789"/>
                  </a:lnTo>
                  <a:lnTo>
                    <a:pt x="177852" y="9409"/>
                  </a:lnTo>
                  <a:lnTo>
                    <a:pt x="177545" y="9716"/>
                  </a:lnTo>
                  <a:lnTo>
                    <a:pt x="177034" y="8591"/>
                  </a:lnTo>
                  <a:lnTo>
                    <a:pt x="173352" y="8182"/>
                  </a:lnTo>
                  <a:lnTo>
                    <a:pt x="173352" y="8182"/>
                  </a:lnTo>
                  <a:lnTo>
                    <a:pt x="173966" y="8489"/>
                  </a:lnTo>
                  <a:lnTo>
                    <a:pt x="172636" y="8489"/>
                  </a:lnTo>
                  <a:lnTo>
                    <a:pt x="175193" y="9205"/>
                  </a:lnTo>
                  <a:lnTo>
                    <a:pt x="175193" y="9205"/>
                  </a:lnTo>
                  <a:lnTo>
                    <a:pt x="172432" y="8898"/>
                  </a:lnTo>
                  <a:lnTo>
                    <a:pt x="172432" y="8693"/>
                  </a:lnTo>
                  <a:lnTo>
                    <a:pt x="172227" y="8591"/>
                  </a:lnTo>
                  <a:lnTo>
                    <a:pt x="172227" y="8182"/>
                  </a:lnTo>
                  <a:lnTo>
                    <a:pt x="171307" y="7670"/>
                  </a:lnTo>
                  <a:lnTo>
                    <a:pt x="171307" y="7670"/>
                  </a:lnTo>
                  <a:lnTo>
                    <a:pt x="171716" y="8284"/>
                  </a:lnTo>
                  <a:lnTo>
                    <a:pt x="171102" y="8898"/>
                  </a:lnTo>
                  <a:lnTo>
                    <a:pt x="172227" y="9511"/>
                  </a:lnTo>
                  <a:lnTo>
                    <a:pt x="172330" y="10330"/>
                  </a:lnTo>
                  <a:lnTo>
                    <a:pt x="174886" y="11148"/>
                  </a:lnTo>
                  <a:lnTo>
                    <a:pt x="173966" y="11045"/>
                  </a:lnTo>
                  <a:lnTo>
                    <a:pt x="174170" y="12068"/>
                  </a:lnTo>
                  <a:lnTo>
                    <a:pt x="173966" y="12375"/>
                  </a:lnTo>
                  <a:lnTo>
                    <a:pt x="173966" y="12580"/>
                  </a:lnTo>
                  <a:lnTo>
                    <a:pt x="173250" y="13398"/>
                  </a:lnTo>
                  <a:lnTo>
                    <a:pt x="170898" y="12886"/>
                  </a:lnTo>
                  <a:lnTo>
                    <a:pt x="172023" y="12886"/>
                  </a:lnTo>
                  <a:lnTo>
                    <a:pt x="172125" y="13091"/>
                  </a:lnTo>
                  <a:lnTo>
                    <a:pt x="172636" y="12989"/>
                  </a:lnTo>
                  <a:lnTo>
                    <a:pt x="172330" y="12784"/>
                  </a:lnTo>
                  <a:lnTo>
                    <a:pt x="173045" y="11761"/>
                  </a:lnTo>
                  <a:lnTo>
                    <a:pt x="173045" y="11352"/>
                  </a:lnTo>
                  <a:lnTo>
                    <a:pt x="172330" y="11045"/>
                  </a:lnTo>
                  <a:lnTo>
                    <a:pt x="171307" y="9920"/>
                  </a:lnTo>
                  <a:lnTo>
                    <a:pt x="171307" y="9716"/>
                  </a:lnTo>
                  <a:lnTo>
                    <a:pt x="171102" y="9307"/>
                  </a:lnTo>
                  <a:lnTo>
                    <a:pt x="170284" y="8898"/>
                  </a:lnTo>
                  <a:lnTo>
                    <a:pt x="170182" y="7875"/>
                  </a:lnTo>
                  <a:lnTo>
                    <a:pt x="168545" y="7670"/>
                  </a:lnTo>
                  <a:lnTo>
                    <a:pt x="167727" y="8080"/>
                  </a:lnTo>
                  <a:lnTo>
                    <a:pt x="167625" y="8795"/>
                  </a:lnTo>
                  <a:lnTo>
                    <a:pt x="167114" y="9205"/>
                  </a:lnTo>
                  <a:lnTo>
                    <a:pt x="167727" y="9409"/>
                  </a:lnTo>
                  <a:lnTo>
                    <a:pt x="168034" y="10432"/>
                  </a:lnTo>
                  <a:lnTo>
                    <a:pt x="169875" y="10943"/>
                  </a:lnTo>
                  <a:lnTo>
                    <a:pt x="169568" y="11557"/>
                  </a:lnTo>
                  <a:lnTo>
                    <a:pt x="164148" y="10227"/>
                  </a:lnTo>
                  <a:lnTo>
                    <a:pt x="163636" y="10432"/>
                  </a:lnTo>
                  <a:lnTo>
                    <a:pt x="164352" y="10841"/>
                  </a:lnTo>
                  <a:lnTo>
                    <a:pt x="163841" y="11250"/>
                  </a:lnTo>
                  <a:lnTo>
                    <a:pt x="159648" y="11557"/>
                  </a:lnTo>
                  <a:lnTo>
                    <a:pt x="159648" y="11557"/>
                  </a:lnTo>
                  <a:lnTo>
                    <a:pt x="159955" y="11455"/>
                  </a:lnTo>
                  <a:lnTo>
                    <a:pt x="159852" y="11045"/>
                  </a:lnTo>
                  <a:lnTo>
                    <a:pt x="159750" y="11045"/>
                  </a:lnTo>
                  <a:lnTo>
                    <a:pt x="158830" y="11250"/>
                  </a:lnTo>
                  <a:lnTo>
                    <a:pt x="159136" y="11352"/>
                  </a:lnTo>
                  <a:lnTo>
                    <a:pt x="158830" y="11455"/>
                  </a:lnTo>
                  <a:lnTo>
                    <a:pt x="158625" y="11352"/>
                  </a:lnTo>
                  <a:lnTo>
                    <a:pt x="156682" y="11966"/>
                  </a:lnTo>
                  <a:lnTo>
                    <a:pt x="156886" y="12068"/>
                  </a:lnTo>
                  <a:lnTo>
                    <a:pt x="155250" y="12886"/>
                  </a:lnTo>
                  <a:lnTo>
                    <a:pt x="154330" y="12273"/>
                  </a:lnTo>
                  <a:lnTo>
                    <a:pt x="155352" y="11966"/>
                  </a:lnTo>
                  <a:lnTo>
                    <a:pt x="152898" y="11250"/>
                  </a:lnTo>
                  <a:lnTo>
                    <a:pt x="153614" y="11659"/>
                  </a:lnTo>
                  <a:lnTo>
                    <a:pt x="153614" y="12375"/>
                  </a:lnTo>
                  <a:lnTo>
                    <a:pt x="154227" y="12784"/>
                  </a:lnTo>
                  <a:lnTo>
                    <a:pt x="154227" y="13602"/>
                  </a:lnTo>
                  <a:lnTo>
                    <a:pt x="152795" y="13193"/>
                  </a:lnTo>
                  <a:lnTo>
                    <a:pt x="151466" y="14011"/>
                  </a:lnTo>
                  <a:lnTo>
                    <a:pt x="152080" y="14727"/>
                  </a:lnTo>
                  <a:lnTo>
                    <a:pt x="151568" y="14932"/>
                  </a:lnTo>
                  <a:lnTo>
                    <a:pt x="149625" y="14318"/>
                  </a:lnTo>
                  <a:lnTo>
                    <a:pt x="149420" y="14523"/>
                  </a:lnTo>
                  <a:lnTo>
                    <a:pt x="150545" y="15239"/>
                  </a:lnTo>
                  <a:lnTo>
                    <a:pt x="150341" y="15545"/>
                  </a:lnTo>
                  <a:lnTo>
                    <a:pt x="146864" y="13295"/>
                  </a:lnTo>
                  <a:lnTo>
                    <a:pt x="147068" y="13193"/>
                  </a:lnTo>
                  <a:lnTo>
                    <a:pt x="145636" y="12580"/>
                  </a:lnTo>
                  <a:lnTo>
                    <a:pt x="151057" y="13398"/>
                  </a:lnTo>
                  <a:lnTo>
                    <a:pt x="151977" y="12886"/>
                  </a:lnTo>
                  <a:lnTo>
                    <a:pt x="151875" y="12375"/>
                  </a:lnTo>
                  <a:lnTo>
                    <a:pt x="150648" y="11659"/>
                  </a:lnTo>
                  <a:lnTo>
                    <a:pt x="150750" y="11761"/>
                  </a:lnTo>
                  <a:lnTo>
                    <a:pt x="150750" y="11761"/>
                  </a:lnTo>
                  <a:lnTo>
                    <a:pt x="146455" y="10636"/>
                  </a:lnTo>
                  <a:lnTo>
                    <a:pt x="146045" y="10841"/>
                  </a:lnTo>
                  <a:lnTo>
                    <a:pt x="145841" y="10636"/>
                  </a:lnTo>
                  <a:lnTo>
                    <a:pt x="145841" y="10534"/>
                  </a:lnTo>
                  <a:lnTo>
                    <a:pt x="145227" y="10432"/>
                  </a:lnTo>
                  <a:lnTo>
                    <a:pt x="145739" y="10330"/>
                  </a:lnTo>
                  <a:lnTo>
                    <a:pt x="145023" y="10125"/>
                  </a:lnTo>
                  <a:lnTo>
                    <a:pt x="145023" y="10125"/>
                  </a:lnTo>
                  <a:lnTo>
                    <a:pt x="145125" y="10227"/>
                  </a:lnTo>
                  <a:lnTo>
                    <a:pt x="143591" y="10330"/>
                  </a:lnTo>
                  <a:lnTo>
                    <a:pt x="143489" y="10125"/>
                  </a:lnTo>
                  <a:lnTo>
                    <a:pt x="142875" y="9920"/>
                  </a:lnTo>
                  <a:lnTo>
                    <a:pt x="144102" y="9920"/>
                  </a:lnTo>
                  <a:lnTo>
                    <a:pt x="143080" y="9409"/>
                  </a:lnTo>
                  <a:lnTo>
                    <a:pt x="142466" y="9920"/>
                  </a:lnTo>
                  <a:lnTo>
                    <a:pt x="141955" y="9409"/>
                  </a:lnTo>
                  <a:lnTo>
                    <a:pt x="141443" y="9716"/>
                  </a:lnTo>
                  <a:lnTo>
                    <a:pt x="141341" y="9511"/>
                  </a:lnTo>
                  <a:lnTo>
                    <a:pt x="141136" y="9409"/>
                  </a:lnTo>
                  <a:lnTo>
                    <a:pt x="140727" y="9920"/>
                  </a:lnTo>
                  <a:lnTo>
                    <a:pt x="140830" y="9409"/>
                  </a:lnTo>
                  <a:lnTo>
                    <a:pt x="140318" y="9307"/>
                  </a:lnTo>
                  <a:lnTo>
                    <a:pt x="139398" y="10023"/>
                  </a:lnTo>
                  <a:lnTo>
                    <a:pt x="138886" y="9716"/>
                  </a:lnTo>
                  <a:lnTo>
                    <a:pt x="138068" y="9920"/>
                  </a:lnTo>
                  <a:lnTo>
                    <a:pt x="138477" y="10227"/>
                  </a:lnTo>
                  <a:lnTo>
                    <a:pt x="137864" y="10125"/>
                  </a:lnTo>
                  <a:lnTo>
                    <a:pt x="137557" y="10330"/>
                  </a:lnTo>
                  <a:lnTo>
                    <a:pt x="137761" y="10534"/>
                  </a:lnTo>
                  <a:lnTo>
                    <a:pt x="137352" y="10636"/>
                  </a:lnTo>
                  <a:lnTo>
                    <a:pt x="137352" y="10125"/>
                  </a:lnTo>
                  <a:lnTo>
                    <a:pt x="137045" y="10534"/>
                  </a:lnTo>
                  <a:lnTo>
                    <a:pt x="136330" y="10534"/>
                  </a:lnTo>
                  <a:lnTo>
                    <a:pt x="136636" y="10636"/>
                  </a:lnTo>
                  <a:lnTo>
                    <a:pt x="136125" y="10636"/>
                  </a:lnTo>
                  <a:lnTo>
                    <a:pt x="136125" y="10841"/>
                  </a:lnTo>
                  <a:lnTo>
                    <a:pt x="135818" y="10841"/>
                  </a:lnTo>
                  <a:lnTo>
                    <a:pt x="135716" y="11045"/>
                  </a:lnTo>
                  <a:lnTo>
                    <a:pt x="135102" y="11352"/>
                  </a:lnTo>
                  <a:lnTo>
                    <a:pt x="135818" y="11455"/>
                  </a:lnTo>
                  <a:lnTo>
                    <a:pt x="135307" y="11455"/>
                  </a:lnTo>
                  <a:lnTo>
                    <a:pt x="135102" y="11761"/>
                  </a:lnTo>
                  <a:lnTo>
                    <a:pt x="135102" y="11966"/>
                  </a:lnTo>
                  <a:lnTo>
                    <a:pt x="134795" y="11659"/>
                  </a:lnTo>
                  <a:lnTo>
                    <a:pt x="134386" y="11761"/>
                  </a:lnTo>
                  <a:lnTo>
                    <a:pt x="134591" y="11864"/>
                  </a:lnTo>
                  <a:lnTo>
                    <a:pt x="134080" y="12068"/>
                  </a:lnTo>
                  <a:lnTo>
                    <a:pt x="134386" y="12068"/>
                  </a:lnTo>
                  <a:lnTo>
                    <a:pt x="134693" y="12273"/>
                  </a:lnTo>
                  <a:lnTo>
                    <a:pt x="134693" y="12375"/>
                  </a:lnTo>
                  <a:lnTo>
                    <a:pt x="133875" y="12477"/>
                  </a:lnTo>
                  <a:lnTo>
                    <a:pt x="134591" y="12477"/>
                  </a:lnTo>
                  <a:lnTo>
                    <a:pt x="133364" y="12784"/>
                  </a:lnTo>
                  <a:lnTo>
                    <a:pt x="133568" y="12886"/>
                  </a:lnTo>
                  <a:lnTo>
                    <a:pt x="133057" y="13091"/>
                  </a:lnTo>
                  <a:lnTo>
                    <a:pt x="133670" y="13295"/>
                  </a:lnTo>
                  <a:lnTo>
                    <a:pt x="132852" y="13500"/>
                  </a:lnTo>
                  <a:lnTo>
                    <a:pt x="133057" y="13602"/>
                  </a:lnTo>
                  <a:lnTo>
                    <a:pt x="133057" y="14216"/>
                  </a:lnTo>
                  <a:lnTo>
                    <a:pt x="132750" y="14420"/>
                  </a:lnTo>
                  <a:lnTo>
                    <a:pt x="132545" y="14318"/>
                  </a:lnTo>
                  <a:lnTo>
                    <a:pt x="131932" y="14727"/>
                  </a:lnTo>
                  <a:lnTo>
                    <a:pt x="132239" y="14625"/>
                  </a:lnTo>
                  <a:lnTo>
                    <a:pt x="130909" y="15750"/>
                  </a:lnTo>
                  <a:lnTo>
                    <a:pt x="131114" y="15852"/>
                  </a:lnTo>
                  <a:lnTo>
                    <a:pt x="131830" y="15545"/>
                  </a:lnTo>
                  <a:lnTo>
                    <a:pt x="131727" y="15443"/>
                  </a:lnTo>
                  <a:lnTo>
                    <a:pt x="132136" y="15443"/>
                  </a:lnTo>
                  <a:lnTo>
                    <a:pt x="131932" y="15545"/>
                  </a:lnTo>
                  <a:lnTo>
                    <a:pt x="132136" y="15545"/>
                  </a:lnTo>
                  <a:lnTo>
                    <a:pt x="131727" y="15852"/>
                  </a:lnTo>
                  <a:lnTo>
                    <a:pt x="130091" y="15955"/>
                  </a:lnTo>
                  <a:lnTo>
                    <a:pt x="129886" y="16057"/>
                  </a:lnTo>
                  <a:lnTo>
                    <a:pt x="130193" y="16466"/>
                  </a:lnTo>
                  <a:lnTo>
                    <a:pt x="128864" y="16568"/>
                  </a:lnTo>
                  <a:lnTo>
                    <a:pt x="129886" y="16568"/>
                  </a:lnTo>
                  <a:lnTo>
                    <a:pt x="128785" y="16804"/>
                  </a:lnTo>
                  <a:lnTo>
                    <a:pt x="128785" y="16804"/>
                  </a:lnTo>
                  <a:lnTo>
                    <a:pt x="127841" y="17182"/>
                  </a:lnTo>
                  <a:lnTo>
                    <a:pt x="128966" y="17386"/>
                  </a:lnTo>
                  <a:lnTo>
                    <a:pt x="127739" y="17386"/>
                  </a:lnTo>
                  <a:lnTo>
                    <a:pt x="128045" y="18102"/>
                  </a:lnTo>
                  <a:lnTo>
                    <a:pt x="129477" y="17795"/>
                  </a:lnTo>
                  <a:lnTo>
                    <a:pt x="129580" y="18000"/>
                  </a:lnTo>
                  <a:lnTo>
                    <a:pt x="129273" y="18205"/>
                  </a:lnTo>
                  <a:lnTo>
                    <a:pt x="127739" y="18307"/>
                  </a:lnTo>
                  <a:lnTo>
                    <a:pt x="128250" y="18511"/>
                  </a:lnTo>
                  <a:lnTo>
                    <a:pt x="127943" y="18818"/>
                  </a:lnTo>
                  <a:lnTo>
                    <a:pt x="128250" y="19023"/>
                  </a:lnTo>
                  <a:lnTo>
                    <a:pt x="127943" y="19227"/>
                  </a:lnTo>
                  <a:lnTo>
                    <a:pt x="128045" y="19330"/>
                  </a:lnTo>
                  <a:lnTo>
                    <a:pt x="129170" y="18614"/>
                  </a:lnTo>
                  <a:lnTo>
                    <a:pt x="128864" y="19023"/>
                  </a:lnTo>
                  <a:lnTo>
                    <a:pt x="128557" y="19023"/>
                  </a:lnTo>
                  <a:lnTo>
                    <a:pt x="128659" y="19330"/>
                  </a:lnTo>
                  <a:lnTo>
                    <a:pt x="127943" y="19841"/>
                  </a:lnTo>
                  <a:lnTo>
                    <a:pt x="128864" y="19534"/>
                  </a:lnTo>
                  <a:lnTo>
                    <a:pt x="128557" y="19841"/>
                  </a:lnTo>
                  <a:lnTo>
                    <a:pt x="128864" y="20045"/>
                  </a:lnTo>
                  <a:lnTo>
                    <a:pt x="128250" y="20352"/>
                  </a:lnTo>
                  <a:lnTo>
                    <a:pt x="129068" y="20761"/>
                  </a:lnTo>
                  <a:lnTo>
                    <a:pt x="128966" y="20864"/>
                  </a:lnTo>
                  <a:lnTo>
                    <a:pt x="131011" y="20148"/>
                  </a:lnTo>
                  <a:lnTo>
                    <a:pt x="131114" y="19943"/>
                  </a:lnTo>
                  <a:lnTo>
                    <a:pt x="131727" y="19841"/>
                  </a:lnTo>
                  <a:lnTo>
                    <a:pt x="131727" y="19534"/>
                  </a:lnTo>
                  <a:lnTo>
                    <a:pt x="131830" y="19330"/>
                  </a:lnTo>
                  <a:lnTo>
                    <a:pt x="132034" y="19841"/>
                  </a:lnTo>
                  <a:lnTo>
                    <a:pt x="132443" y="20045"/>
                  </a:lnTo>
                  <a:lnTo>
                    <a:pt x="132443" y="20659"/>
                  </a:lnTo>
                  <a:lnTo>
                    <a:pt x="133670" y="22295"/>
                  </a:lnTo>
                  <a:lnTo>
                    <a:pt x="133670" y="22500"/>
                  </a:lnTo>
                  <a:lnTo>
                    <a:pt x="133773" y="22705"/>
                  </a:lnTo>
                  <a:lnTo>
                    <a:pt x="133466" y="22705"/>
                  </a:lnTo>
                  <a:lnTo>
                    <a:pt x="133875" y="23523"/>
                  </a:lnTo>
                  <a:lnTo>
                    <a:pt x="135000" y="23318"/>
                  </a:lnTo>
                  <a:lnTo>
                    <a:pt x="135205" y="22909"/>
                  </a:lnTo>
                  <a:lnTo>
                    <a:pt x="136023" y="22807"/>
                  </a:lnTo>
                  <a:lnTo>
                    <a:pt x="136432" y="20557"/>
                  </a:lnTo>
                  <a:lnTo>
                    <a:pt x="136636" y="20557"/>
                  </a:lnTo>
                  <a:lnTo>
                    <a:pt x="136023" y="20455"/>
                  </a:lnTo>
                  <a:lnTo>
                    <a:pt x="137761" y="19739"/>
                  </a:lnTo>
                  <a:lnTo>
                    <a:pt x="137250" y="19739"/>
                  </a:lnTo>
                  <a:lnTo>
                    <a:pt x="137966" y="19227"/>
                  </a:lnTo>
                  <a:lnTo>
                    <a:pt x="136636" y="18307"/>
                  </a:lnTo>
                  <a:lnTo>
                    <a:pt x="136432" y="17489"/>
                  </a:lnTo>
                  <a:lnTo>
                    <a:pt x="136636" y="17591"/>
                  </a:lnTo>
                  <a:lnTo>
                    <a:pt x="136636" y="17080"/>
                  </a:lnTo>
                  <a:lnTo>
                    <a:pt x="136432" y="16773"/>
                  </a:lnTo>
                  <a:lnTo>
                    <a:pt x="136943" y="16670"/>
                  </a:lnTo>
                  <a:lnTo>
                    <a:pt x="136841" y="16670"/>
                  </a:lnTo>
                  <a:lnTo>
                    <a:pt x="136739" y="16466"/>
                  </a:lnTo>
                  <a:lnTo>
                    <a:pt x="137148" y="16364"/>
                  </a:lnTo>
                  <a:lnTo>
                    <a:pt x="137045" y="16364"/>
                  </a:lnTo>
                  <a:lnTo>
                    <a:pt x="137455" y="16159"/>
                  </a:lnTo>
                  <a:lnTo>
                    <a:pt x="137352" y="16057"/>
                  </a:lnTo>
                  <a:lnTo>
                    <a:pt x="137864" y="15955"/>
                  </a:lnTo>
                  <a:lnTo>
                    <a:pt x="137864" y="15852"/>
                  </a:lnTo>
                  <a:lnTo>
                    <a:pt x="139091" y="15034"/>
                  </a:lnTo>
                  <a:lnTo>
                    <a:pt x="138784" y="14625"/>
                  </a:lnTo>
                  <a:lnTo>
                    <a:pt x="138886" y="14216"/>
                  </a:lnTo>
                  <a:lnTo>
                    <a:pt x="138989" y="14216"/>
                  </a:lnTo>
                  <a:lnTo>
                    <a:pt x="139193" y="14011"/>
                  </a:lnTo>
                  <a:lnTo>
                    <a:pt x="139398" y="14011"/>
                  </a:lnTo>
                  <a:lnTo>
                    <a:pt x="139295" y="13909"/>
                  </a:lnTo>
                  <a:lnTo>
                    <a:pt x="141034" y="13705"/>
                  </a:lnTo>
                  <a:lnTo>
                    <a:pt x="141545" y="14011"/>
                  </a:lnTo>
                  <a:lnTo>
                    <a:pt x="141648" y="14625"/>
                  </a:lnTo>
                  <a:lnTo>
                    <a:pt x="139807" y="15852"/>
                  </a:lnTo>
                  <a:lnTo>
                    <a:pt x="139807" y="15955"/>
                  </a:lnTo>
                  <a:lnTo>
                    <a:pt x="139295" y="16159"/>
                  </a:lnTo>
                  <a:lnTo>
                    <a:pt x="139602" y="18511"/>
                  </a:lnTo>
                  <a:lnTo>
                    <a:pt x="140523" y="18716"/>
                  </a:lnTo>
                  <a:lnTo>
                    <a:pt x="140523" y="18920"/>
                  </a:lnTo>
                  <a:lnTo>
                    <a:pt x="140727" y="18920"/>
                  </a:lnTo>
                  <a:lnTo>
                    <a:pt x="140830" y="19330"/>
                  </a:lnTo>
                  <a:lnTo>
                    <a:pt x="142977" y="18818"/>
                  </a:lnTo>
                  <a:lnTo>
                    <a:pt x="142875" y="18716"/>
                  </a:lnTo>
                  <a:lnTo>
                    <a:pt x="143386" y="18511"/>
                  </a:lnTo>
                  <a:lnTo>
                    <a:pt x="143284" y="18716"/>
                  </a:lnTo>
                  <a:lnTo>
                    <a:pt x="144731" y="18619"/>
                  </a:lnTo>
                  <a:lnTo>
                    <a:pt x="144731" y="18619"/>
                  </a:lnTo>
                  <a:lnTo>
                    <a:pt x="146045" y="19125"/>
                  </a:lnTo>
                  <a:lnTo>
                    <a:pt x="144920" y="19227"/>
                  </a:lnTo>
                  <a:lnTo>
                    <a:pt x="144818" y="19432"/>
                  </a:lnTo>
                  <a:lnTo>
                    <a:pt x="144614" y="19330"/>
                  </a:lnTo>
                  <a:lnTo>
                    <a:pt x="144511" y="19636"/>
                  </a:lnTo>
                  <a:lnTo>
                    <a:pt x="141750" y="19739"/>
                  </a:lnTo>
                  <a:lnTo>
                    <a:pt x="141341" y="20045"/>
                  </a:lnTo>
                  <a:lnTo>
                    <a:pt x="142261" y="20864"/>
                  </a:lnTo>
                  <a:lnTo>
                    <a:pt x="142261" y="21784"/>
                  </a:lnTo>
                  <a:lnTo>
                    <a:pt x="140318" y="21375"/>
                  </a:lnTo>
                  <a:lnTo>
                    <a:pt x="139909" y="22398"/>
                  </a:lnTo>
                  <a:lnTo>
                    <a:pt x="140011" y="23318"/>
                  </a:lnTo>
                  <a:lnTo>
                    <a:pt x="140114" y="23932"/>
                  </a:lnTo>
                  <a:lnTo>
                    <a:pt x="139807" y="23932"/>
                  </a:lnTo>
                  <a:lnTo>
                    <a:pt x="140011" y="23318"/>
                  </a:lnTo>
                  <a:lnTo>
                    <a:pt x="138886" y="24545"/>
                  </a:lnTo>
                  <a:lnTo>
                    <a:pt x="138375" y="24239"/>
                  </a:lnTo>
                  <a:lnTo>
                    <a:pt x="134693" y="24750"/>
                  </a:lnTo>
                  <a:lnTo>
                    <a:pt x="135307" y="25261"/>
                  </a:lnTo>
                  <a:lnTo>
                    <a:pt x="134795" y="25057"/>
                  </a:lnTo>
                  <a:lnTo>
                    <a:pt x="134693" y="24750"/>
                  </a:lnTo>
                  <a:lnTo>
                    <a:pt x="133773" y="24443"/>
                  </a:lnTo>
                  <a:lnTo>
                    <a:pt x="132852" y="24955"/>
                  </a:lnTo>
                  <a:lnTo>
                    <a:pt x="131625" y="24443"/>
                  </a:lnTo>
                  <a:lnTo>
                    <a:pt x="131625" y="24136"/>
                  </a:lnTo>
                  <a:lnTo>
                    <a:pt x="131318" y="23830"/>
                  </a:lnTo>
                  <a:lnTo>
                    <a:pt x="131420" y="23420"/>
                  </a:lnTo>
                  <a:lnTo>
                    <a:pt x="131727" y="23216"/>
                  </a:lnTo>
                  <a:lnTo>
                    <a:pt x="131625" y="23114"/>
                  </a:lnTo>
                  <a:lnTo>
                    <a:pt x="132341" y="22500"/>
                  </a:lnTo>
                  <a:lnTo>
                    <a:pt x="131932" y="22398"/>
                  </a:lnTo>
                  <a:lnTo>
                    <a:pt x="132034" y="21273"/>
                  </a:lnTo>
                  <a:lnTo>
                    <a:pt x="132034" y="21273"/>
                  </a:lnTo>
                  <a:lnTo>
                    <a:pt x="130602" y="21886"/>
                  </a:lnTo>
                  <a:lnTo>
                    <a:pt x="130602" y="22193"/>
                  </a:lnTo>
                  <a:lnTo>
                    <a:pt x="131011" y="22295"/>
                  </a:lnTo>
                  <a:lnTo>
                    <a:pt x="130705" y="22398"/>
                  </a:lnTo>
                  <a:lnTo>
                    <a:pt x="130295" y="22398"/>
                  </a:lnTo>
                  <a:lnTo>
                    <a:pt x="130295" y="23318"/>
                  </a:lnTo>
                  <a:lnTo>
                    <a:pt x="130909" y="24341"/>
                  </a:lnTo>
                  <a:lnTo>
                    <a:pt x="130807" y="24545"/>
                  </a:lnTo>
                  <a:lnTo>
                    <a:pt x="131625" y="25261"/>
                  </a:lnTo>
                  <a:lnTo>
                    <a:pt x="131011" y="25057"/>
                  </a:lnTo>
                  <a:lnTo>
                    <a:pt x="130705" y="25466"/>
                  </a:lnTo>
                  <a:lnTo>
                    <a:pt x="128864" y="25466"/>
                  </a:lnTo>
                  <a:lnTo>
                    <a:pt x="127739" y="26080"/>
                  </a:lnTo>
                  <a:lnTo>
                    <a:pt x="127432" y="27205"/>
                  </a:lnTo>
                  <a:lnTo>
                    <a:pt x="127227" y="27205"/>
                  </a:lnTo>
                  <a:lnTo>
                    <a:pt x="127534" y="27409"/>
                  </a:lnTo>
                  <a:lnTo>
                    <a:pt x="127534" y="27409"/>
                  </a:lnTo>
                  <a:lnTo>
                    <a:pt x="126818" y="27307"/>
                  </a:lnTo>
                  <a:lnTo>
                    <a:pt x="126818" y="27307"/>
                  </a:lnTo>
                  <a:lnTo>
                    <a:pt x="127432" y="27409"/>
                  </a:lnTo>
                  <a:lnTo>
                    <a:pt x="125386" y="28023"/>
                  </a:lnTo>
                  <a:lnTo>
                    <a:pt x="124977" y="28841"/>
                  </a:lnTo>
                  <a:lnTo>
                    <a:pt x="124261" y="29148"/>
                  </a:lnTo>
                  <a:lnTo>
                    <a:pt x="124466" y="29352"/>
                  </a:lnTo>
                  <a:lnTo>
                    <a:pt x="123239" y="29455"/>
                  </a:lnTo>
                  <a:lnTo>
                    <a:pt x="123136" y="29148"/>
                  </a:lnTo>
                  <a:lnTo>
                    <a:pt x="122727" y="29352"/>
                  </a:lnTo>
                  <a:lnTo>
                    <a:pt x="123034" y="30170"/>
                  </a:lnTo>
                  <a:lnTo>
                    <a:pt x="120375" y="30375"/>
                  </a:lnTo>
                  <a:lnTo>
                    <a:pt x="120784" y="30477"/>
                  </a:lnTo>
                  <a:lnTo>
                    <a:pt x="120477" y="30580"/>
                  </a:lnTo>
                  <a:lnTo>
                    <a:pt x="120682" y="30682"/>
                  </a:lnTo>
                  <a:lnTo>
                    <a:pt x="120375" y="30784"/>
                  </a:lnTo>
                  <a:lnTo>
                    <a:pt x="122011" y="31193"/>
                  </a:lnTo>
                  <a:lnTo>
                    <a:pt x="121909" y="31295"/>
                  </a:lnTo>
                  <a:lnTo>
                    <a:pt x="122114" y="31295"/>
                  </a:lnTo>
                  <a:lnTo>
                    <a:pt x="122114" y="31398"/>
                  </a:lnTo>
                  <a:lnTo>
                    <a:pt x="122727" y="31602"/>
                  </a:lnTo>
                  <a:lnTo>
                    <a:pt x="122420" y="31705"/>
                  </a:lnTo>
                  <a:lnTo>
                    <a:pt x="122523" y="32114"/>
                  </a:lnTo>
                  <a:lnTo>
                    <a:pt x="123239" y="32523"/>
                  </a:lnTo>
                  <a:lnTo>
                    <a:pt x="123341" y="33136"/>
                  </a:lnTo>
                  <a:lnTo>
                    <a:pt x="123136" y="33034"/>
                  </a:lnTo>
                  <a:lnTo>
                    <a:pt x="123750" y="33852"/>
                  </a:lnTo>
                  <a:lnTo>
                    <a:pt x="123750" y="33852"/>
                  </a:lnTo>
                  <a:lnTo>
                    <a:pt x="123239" y="33341"/>
                  </a:lnTo>
                  <a:lnTo>
                    <a:pt x="123136" y="34261"/>
                  </a:lnTo>
                  <a:lnTo>
                    <a:pt x="123239" y="34159"/>
                  </a:lnTo>
                  <a:lnTo>
                    <a:pt x="123239" y="34261"/>
                  </a:lnTo>
                  <a:lnTo>
                    <a:pt x="122830" y="35386"/>
                  </a:lnTo>
                  <a:lnTo>
                    <a:pt x="117409" y="35284"/>
                  </a:lnTo>
                  <a:lnTo>
                    <a:pt x="117307" y="35489"/>
                  </a:lnTo>
                  <a:lnTo>
                    <a:pt x="116898" y="35591"/>
                  </a:lnTo>
                  <a:lnTo>
                    <a:pt x="116693" y="36307"/>
                  </a:lnTo>
                  <a:lnTo>
                    <a:pt x="116898" y="36307"/>
                  </a:lnTo>
                  <a:lnTo>
                    <a:pt x="116898" y="36614"/>
                  </a:lnTo>
                  <a:lnTo>
                    <a:pt x="117000" y="36614"/>
                  </a:lnTo>
                  <a:lnTo>
                    <a:pt x="116182" y="40091"/>
                  </a:lnTo>
                  <a:lnTo>
                    <a:pt x="116795" y="39784"/>
                  </a:lnTo>
                  <a:lnTo>
                    <a:pt x="116386" y="40295"/>
                  </a:lnTo>
                  <a:lnTo>
                    <a:pt x="116687" y="40446"/>
                  </a:lnTo>
                  <a:lnTo>
                    <a:pt x="116687" y="40446"/>
                  </a:lnTo>
                  <a:lnTo>
                    <a:pt x="116489" y="41932"/>
                  </a:lnTo>
                  <a:lnTo>
                    <a:pt x="118330" y="41625"/>
                  </a:lnTo>
                  <a:lnTo>
                    <a:pt x="118739" y="42136"/>
                  </a:lnTo>
                  <a:lnTo>
                    <a:pt x="118841" y="42034"/>
                  </a:lnTo>
                  <a:lnTo>
                    <a:pt x="119455" y="42955"/>
                  </a:lnTo>
                  <a:lnTo>
                    <a:pt x="122420" y="42034"/>
                  </a:lnTo>
                  <a:lnTo>
                    <a:pt x="122727" y="41625"/>
                  </a:lnTo>
                  <a:lnTo>
                    <a:pt x="123545" y="41318"/>
                  </a:lnTo>
                  <a:lnTo>
                    <a:pt x="123852" y="40500"/>
                  </a:lnTo>
                  <a:lnTo>
                    <a:pt x="124261" y="40193"/>
                  </a:lnTo>
                  <a:lnTo>
                    <a:pt x="123955" y="39784"/>
                  </a:lnTo>
                  <a:lnTo>
                    <a:pt x="124773" y="38045"/>
                  </a:lnTo>
                  <a:lnTo>
                    <a:pt x="126818" y="36920"/>
                  </a:lnTo>
                  <a:lnTo>
                    <a:pt x="126818" y="35693"/>
                  </a:lnTo>
                  <a:lnTo>
                    <a:pt x="129682" y="35591"/>
                  </a:lnTo>
                  <a:lnTo>
                    <a:pt x="131318" y="34466"/>
                  </a:lnTo>
                  <a:lnTo>
                    <a:pt x="136943" y="38864"/>
                  </a:lnTo>
                  <a:lnTo>
                    <a:pt x="137250" y="38864"/>
                  </a:lnTo>
                  <a:lnTo>
                    <a:pt x="137761" y="40091"/>
                  </a:lnTo>
                  <a:lnTo>
                    <a:pt x="137557" y="40193"/>
                  </a:lnTo>
                  <a:lnTo>
                    <a:pt x="137352" y="40807"/>
                  </a:lnTo>
                  <a:lnTo>
                    <a:pt x="137761" y="41011"/>
                  </a:lnTo>
                  <a:lnTo>
                    <a:pt x="138170" y="39989"/>
                  </a:lnTo>
                  <a:lnTo>
                    <a:pt x="138580" y="39886"/>
                  </a:lnTo>
                  <a:lnTo>
                    <a:pt x="138477" y="39375"/>
                  </a:lnTo>
                  <a:lnTo>
                    <a:pt x="138068" y="39170"/>
                  </a:lnTo>
                  <a:lnTo>
                    <a:pt x="138375" y="38455"/>
                  </a:lnTo>
                  <a:lnTo>
                    <a:pt x="139602" y="38966"/>
                  </a:lnTo>
                  <a:lnTo>
                    <a:pt x="137455" y="37432"/>
                  </a:lnTo>
                  <a:lnTo>
                    <a:pt x="137557" y="37023"/>
                  </a:lnTo>
                  <a:lnTo>
                    <a:pt x="136432" y="36818"/>
                  </a:lnTo>
                  <a:lnTo>
                    <a:pt x="134182" y="34057"/>
                  </a:lnTo>
                  <a:lnTo>
                    <a:pt x="134284" y="33341"/>
                  </a:lnTo>
                  <a:lnTo>
                    <a:pt x="135307" y="33239"/>
                  </a:lnTo>
                  <a:lnTo>
                    <a:pt x="135205" y="33750"/>
                  </a:lnTo>
                  <a:lnTo>
                    <a:pt x="135716" y="33750"/>
                  </a:lnTo>
                  <a:lnTo>
                    <a:pt x="135818" y="33545"/>
                  </a:lnTo>
                  <a:lnTo>
                    <a:pt x="136841" y="34670"/>
                  </a:lnTo>
                  <a:lnTo>
                    <a:pt x="136534" y="34670"/>
                  </a:lnTo>
                  <a:lnTo>
                    <a:pt x="138784" y="36102"/>
                  </a:lnTo>
                  <a:lnTo>
                    <a:pt x="138170" y="35898"/>
                  </a:lnTo>
                  <a:lnTo>
                    <a:pt x="140420" y="37330"/>
                  </a:lnTo>
                  <a:lnTo>
                    <a:pt x="140420" y="38557"/>
                  </a:lnTo>
                  <a:lnTo>
                    <a:pt x="140318" y="38557"/>
                  </a:lnTo>
                  <a:lnTo>
                    <a:pt x="141955" y="39989"/>
                  </a:lnTo>
                  <a:lnTo>
                    <a:pt x="141648" y="39989"/>
                  </a:lnTo>
                  <a:lnTo>
                    <a:pt x="141955" y="40398"/>
                  </a:lnTo>
                  <a:lnTo>
                    <a:pt x="143080" y="40500"/>
                  </a:lnTo>
                  <a:lnTo>
                    <a:pt x="143489" y="40807"/>
                  </a:lnTo>
                  <a:lnTo>
                    <a:pt x="143489" y="40909"/>
                  </a:lnTo>
                  <a:lnTo>
                    <a:pt x="142159" y="40909"/>
                  </a:lnTo>
                  <a:lnTo>
                    <a:pt x="142773" y="42239"/>
                  </a:lnTo>
                  <a:lnTo>
                    <a:pt x="143284" y="42545"/>
                  </a:lnTo>
                  <a:lnTo>
                    <a:pt x="143898" y="42545"/>
                  </a:lnTo>
                  <a:lnTo>
                    <a:pt x="143489" y="41318"/>
                  </a:lnTo>
                  <a:lnTo>
                    <a:pt x="144102" y="41523"/>
                  </a:lnTo>
                  <a:lnTo>
                    <a:pt x="144102" y="41523"/>
                  </a:lnTo>
                  <a:lnTo>
                    <a:pt x="143591" y="41011"/>
                  </a:lnTo>
                  <a:lnTo>
                    <a:pt x="144205" y="41011"/>
                  </a:lnTo>
                  <a:lnTo>
                    <a:pt x="144409" y="40807"/>
                  </a:lnTo>
                  <a:lnTo>
                    <a:pt x="143182" y="39989"/>
                  </a:lnTo>
                  <a:lnTo>
                    <a:pt x="143591" y="39784"/>
                  </a:lnTo>
                  <a:lnTo>
                    <a:pt x="143386" y="39682"/>
                  </a:lnTo>
                  <a:lnTo>
                    <a:pt x="143591" y="39580"/>
                  </a:lnTo>
                  <a:lnTo>
                    <a:pt x="143693" y="39784"/>
                  </a:lnTo>
                  <a:lnTo>
                    <a:pt x="143591" y="39477"/>
                  </a:lnTo>
                  <a:lnTo>
                    <a:pt x="143080" y="38761"/>
                  </a:lnTo>
                  <a:lnTo>
                    <a:pt x="143284" y="38352"/>
                  </a:lnTo>
                  <a:lnTo>
                    <a:pt x="143740" y="38678"/>
                  </a:lnTo>
                  <a:lnTo>
                    <a:pt x="143740" y="38678"/>
                  </a:lnTo>
                  <a:lnTo>
                    <a:pt x="144205" y="38864"/>
                  </a:lnTo>
                  <a:lnTo>
                    <a:pt x="144102" y="38557"/>
                  </a:lnTo>
                  <a:lnTo>
                    <a:pt x="144511" y="38761"/>
                  </a:lnTo>
                  <a:lnTo>
                    <a:pt x="144000" y="38250"/>
                  </a:lnTo>
                  <a:lnTo>
                    <a:pt x="145636" y="38045"/>
                  </a:lnTo>
                  <a:lnTo>
                    <a:pt x="145943" y="38250"/>
                  </a:lnTo>
                  <a:lnTo>
                    <a:pt x="146557" y="38250"/>
                  </a:lnTo>
                  <a:lnTo>
                    <a:pt x="146045" y="38864"/>
                  </a:lnTo>
                  <a:lnTo>
                    <a:pt x="146864" y="39989"/>
                  </a:lnTo>
                  <a:lnTo>
                    <a:pt x="146761" y="40295"/>
                  </a:lnTo>
                  <a:lnTo>
                    <a:pt x="147068" y="40398"/>
                  </a:lnTo>
                  <a:lnTo>
                    <a:pt x="146659" y="40602"/>
                  </a:lnTo>
                  <a:lnTo>
                    <a:pt x="146455" y="40295"/>
                  </a:lnTo>
                  <a:lnTo>
                    <a:pt x="146352" y="40705"/>
                  </a:lnTo>
                  <a:lnTo>
                    <a:pt x="146864" y="40807"/>
                  </a:lnTo>
                  <a:lnTo>
                    <a:pt x="147477" y="41727"/>
                  </a:lnTo>
                  <a:lnTo>
                    <a:pt x="147375" y="41830"/>
                  </a:lnTo>
                  <a:lnTo>
                    <a:pt x="147273" y="41932"/>
                  </a:lnTo>
                  <a:lnTo>
                    <a:pt x="148091" y="41932"/>
                  </a:lnTo>
                  <a:lnTo>
                    <a:pt x="147477" y="42239"/>
                  </a:lnTo>
                  <a:lnTo>
                    <a:pt x="147989" y="42239"/>
                  </a:lnTo>
                  <a:lnTo>
                    <a:pt x="147989" y="42341"/>
                  </a:lnTo>
                  <a:lnTo>
                    <a:pt x="148602" y="42239"/>
                  </a:lnTo>
                  <a:lnTo>
                    <a:pt x="149523" y="42852"/>
                  </a:lnTo>
                  <a:lnTo>
                    <a:pt x="150136" y="42648"/>
                  </a:lnTo>
                  <a:lnTo>
                    <a:pt x="150341" y="42136"/>
                  </a:lnTo>
                  <a:lnTo>
                    <a:pt x="152080" y="42955"/>
                  </a:lnTo>
                  <a:lnTo>
                    <a:pt x="152898" y="42852"/>
                  </a:lnTo>
                  <a:lnTo>
                    <a:pt x="153511" y="42239"/>
                  </a:lnTo>
                  <a:lnTo>
                    <a:pt x="154227" y="42443"/>
                  </a:lnTo>
                  <a:lnTo>
                    <a:pt x="154636" y="42136"/>
                  </a:lnTo>
                  <a:lnTo>
                    <a:pt x="154023" y="47659"/>
                  </a:lnTo>
                  <a:lnTo>
                    <a:pt x="152489" y="48068"/>
                  </a:lnTo>
                  <a:lnTo>
                    <a:pt x="152080" y="47864"/>
                  </a:lnTo>
                  <a:lnTo>
                    <a:pt x="151773" y="47864"/>
                  </a:lnTo>
                  <a:lnTo>
                    <a:pt x="151773" y="47761"/>
                  </a:lnTo>
                  <a:lnTo>
                    <a:pt x="151261" y="47557"/>
                  </a:lnTo>
                  <a:lnTo>
                    <a:pt x="150648" y="47761"/>
                  </a:lnTo>
                  <a:lnTo>
                    <a:pt x="150955" y="47557"/>
                  </a:lnTo>
                  <a:lnTo>
                    <a:pt x="150955" y="47557"/>
                  </a:lnTo>
                  <a:lnTo>
                    <a:pt x="149114" y="48170"/>
                  </a:lnTo>
                  <a:lnTo>
                    <a:pt x="146148" y="47659"/>
                  </a:lnTo>
                  <a:lnTo>
                    <a:pt x="145739" y="47148"/>
                  </a:lnTo>
                  <a:lnTo>
                    <a:pt x="144102" y="46739"/>
                  </a:lnTo>
                  <a:lnTo>
                    <a:pt x="144000" y="46432"/>
                  </a:lnTo>
                  <a:lnTo>
                    <a:pt x="143489" y="46227"/>
                  </a:lnTo>
                  <a:lnTo>
                    <a:pt x="141955" y="46534"/>
                  </a:lnTo>
                  <a:lnTo>
                    <a:pt x="141443" y="47250"/>
                  </a:lnTo>
                  <a:lnTo>
                    <a:pt x="141648" y="48170"/>
                  </a:lnTo>
                  <a:lnTo>
                    <a:pt x="140114" y="48580"/>
                  </a:lnTo>
                  <a:lnTo>
                    <a:pt x="133773" y="45818"/>
                  </a:lnTo>
                  <a:lnTo>
                    <a:pt x="133875" y="45818"/>
                  </a:lnTo>
                  <a:lnTo>
                    <a:pt x="132750" y="44898"/>
                  </a:lnTo>
                  <a:lnTo>
                    <a:pt x="133568" y="43670"/>
                  </a:lnTo>
                  <a:lnTo>
                    <a:pt x="133159" y="43057"/>
                  </a:lnTo>
                  <a:lnTo>
                    <a:pt x="133466" y="41932"/>
                  </a:lnTo>
                  <a:lnTo>
                    <a:pt x="132852" y="42136"/>
                  </a:lnTo>
                  <a:lnTo>
                    <a:pt x="132852" y="41830"/>
                  </a:lnTo>
                  <a:lnTo>
                    <a:pt x="132545" y="41727"/>
                  </a:lnTo>
                  <a:lnTo>
                    <a:pt x="132545" y="41625"/>
                  </a:lnTo>
                  <a:lnTo>
                    <a:pt x="130807" y="42136"/>
                  </a:lnTo>
                  <a:lnTo>
                    <a:pt x="130295" y="41830"/>
                  </a:lnTo>
                  <a:lnTo>
                    <a:pt x="122318" y="43977"/>
                  </a:lnTo>
                  <a:lnTo>
                    <a:pt x="121602" y="43670"/>
                  </a:lnTo>
                  <a:lnTo>
                    <a:pt x="120477" y="43875"/>
                  </a:lnTo>
                  <a:lnTo>
                    <a:pt x="119659" y="43057"/>
                  </a:lnTo>
                  <a:lnTo>
                    <a:pt x="115568" y="48477"/>
                  </a:lnTo>
                  <a:lnTo>
                    <a:pt x="115773" y="48784"/>
                  </a:lnTo>
                  <a:lnTo>
                    <a:pt x="114034" y="50932"/>
                  </a:lnTo>
                  <a:lnTo>
                    <a:pt x="112909" y="51239"/>
                  </a:lnTo>
                  <a:lnTo>
                    <a:pt x="109943" y="55739"/>
                  </a:lnTo>
                  <a:lnTo>
                    <a:pt x="109943" y="55739"/>
                  </a:lnTo>
                  <a:lnTo>
                    <a:pt x="110148" y="55534"/>
                  </a:lnTo>
                  <a:lnTo>
                    <a:pt x="110148" y="55534"/>
                  </a:lnTo>
                  <a:lnTo>
                    <a:pt x="108920" y="58602"/>
                  </a:lnTo>
                  <a:lnTo>
                    <a:pt x="109432" y="58807"/>
                  </a:lnTo>
                  <a:lnTo>
                    <a:pt x="109432" y="60034"/>
                  </a:lnTo>
                  <a:lnTo>
                    <a:pt x="109636" y="59932"/>
                  </a:lnTo>
                  <a:lnTo>
                    <a:pt x="109330" y="63716"/>
                  </a:lnTo>
                  <a:lnTo>
                    <a:pt x="108409" y="64841"/>
                  </a:lnTo>
                  <a:lnTo>
                    <a:pt x="109023" y="65659"/>
                  </a:lnTo>
                  <a:lnTo>
                    <a:pt x="109227" y="65557"/>
                  </a:lnTo>
                  <a:lnTo>
                    <a:pt x="109227" y="66170"/>
                  </a:lnTo>
                  <a:lnTo>
                    <a:pt x="110250" y="66170"/>
                  </a:lnTo>
                  <a:lnTo>
                    <a:pt x="109330" y="66375"/>
                  </a:lnTo>
                  <a:lnTo>
                    <a:pt x="109227" y="66273"/>
                  </a:lnTo>
                  <a:lnTo>
                    <a:pt x="109023" y="67091"/>
                  </a:lnTo>
                  <a:lnTo>
                    <a:pt x="109023" y="67091"/>
                  </a:lnTo>
                  <a:lnTo>
                    <a:pt x="109227" y="66989"/>
                  </a:lnTo>
                  <a:lnTo>
                    <a:pt x="109739" y="67909"/>
                  </a:lnTo>
                  <a:lnTo>
                    <a:pt x="110557" y="67705"/>
                  </a:lnTo>
                  <a:lnTo>
                    <a:pt x="110557" y="67705"/>
                  </a:lnTo>
                  <a:lnTo>
                    <a:pt x="110148" y="67909"/>
                  </a:lnTo>
                  <a:lnTo>
                    <a:pt x="110557" y="68114"/>
                  </a:lnTo>
                  <a:lnTo>
                    <a:pt x="110148" y="68318"/>
                  </a:lnTo>
                  <a:lnTo>
                    <a:pt x="110250" y="68318"/>
                  </a:lnTo>
                  <a:lnTo>
                    <a:pt x="110455" y="68523"/>
                  </a:lnTo>
                  <a:lnTo>
                    <a:pt x="110352" y="68727"/>
                  </a:lnTo>
                  <a:lnTo>
                    <a:pt x="110557" y="68625"/>
                  </a:lnTo>
                  <a:lnTo>
                    <a:pt x="110659" y="68932"/>
                  </a:lnTo>
                  <a:lnTo>
                    <a:pt x="110864" y="69034"/>
                  </a:lnTo>
                  <a:lnTo>
                    <a:pt x="110966" y="68932"/>
                  </a:lnTo>
                  <a:lnTo>
                    <a:pt x="111375" y="69648"/>
                  </a:lnTo>
                  <a:lnTo>
                    <a:pt x="111784" y="69852"/>
                  </a:lnTo>
                  <a:lnTo>
                    <a:pt x="111784" y="70261"/>
                  </a:lnTo>
                  <a:lnTo>
                    <a:pt x="112295" y="70875"/>
                  </a:lnTo>
                  <a:lnTo>
                    <a:pt x="112193" y="71182"/>
                  </a:lnTo>
                  <a:lnTo>
                    <a:pt x="112500" y="71182"/>
                  </a:lnTo>
                  <a:lnTo>
                    <a:pt x="112193" y="71284"/>
                  </a:lnTo>
                  <a:lnTo>
                    <a:pt x="117511" y="75477"/>
                  </a:lnTo>
                  <a:lnTo>
                    <a:pt x="119557" y="74761"/>
                  </a:lnTo>
                  <a:lnTo>
                    <a:pt x="119250" y="74761"/>
                  </a:lnTo>
                  <a:lnTo>
                    <a:pt x="120477" y="74659"/>
                  </a:lnTo>
                  <a:lnTo>
                    <a:pt x="119966" y="74659"/>
                  </a:lnTo>
                  <a:lnTo>
                    <a:pt x="121295" y="74557"/>
                  </a:lnTo>
                  <a:lnTo>
                    <a:pt x="121398" y="74761"/>
                  </a:lnTo>
                  <a:lnTo>
                    <a:pt x="127534" y="73227"/>
                  </a:lnTo>
                  <a:lnTo>
                    <a:pt x="127330" y="73432"/>
                  </a:lnTo>
                  <a:lnTo>
                    <a:pt x="129170" y="74455"/>
                  </a:lnTo>
                  <a:lnTo>
                    <a:pt x="129170" y="74761"/>
                  </a:lnTo>
                  <a:lnTo>
                    <a:pt x="129068" y="74761"/>
                  </a:lnTo>
                  <a:lnTo>
                    <a:pt x="129886" y="75477"/>
                  </a:lnTo>
                  <a:lnTo>
                    <a:pt x="130091" y="75477"/>
                  </a:lnTo>
                  <a:lnTo>
                    <a:pt x="130398" y="75580"/>
                  </a:lnTo>
                  <a:lnTo>
                    <a:pt x="130295" y="75170"/>
                  </a:lnTo>
                  <a:lnTo>
                    <a:pt x="130398" y="75477"/>
                  </a:lnTo>
                  <a:lnTo>
                    <a:pt x="130602" y="75170"/>
                  </a:lnTo>
                  <a:lnTo>
                    <a:pt x="131420" y="75375"/>
                  </a:lnTo>
                  <a:lnTo>
                    <a:pt x="131625" y="74966"/>
                  </a:lnTo>
                  <a:lnTo>
                    <a:pt x="132341" y="75784"/>
                  </a:lnTo>
                  <a:lnTo>
                    <a:pt x="132955" y="75886"/>
                  </a:lnTo>
                  <a:lnTo>
                    <a:pt x="132852" y="79466"/>
                  </a:lnTo>
                  <a:lnTo>
                    <a:pt x="132648" y="79568"/>
                  </a:lnTo>
                  <a:lnTo>
                    <a:pt x="133261" y="79875"/>
                  </a:lnTo>
                  <a:lnTo>
                    <a:pt x="133057" y="79977"/>
                  </a:lnTo>
                  <a:lnTo>
                    <a:pt x="132648" y="79670"/>
                  </a:lnTo>
                  <a:lnTo>
                    <a:pt x="132443" y="80591"/>
                  </a:lnTo>
                  <a:lnTo>
                    <a:pt x="132034" y="80693"/>
                  </a:lnTo>
                  <a:lnTo>
                    <a:pt x="132852" y="81716"/>
                  </a:lnTo>
                  <a:lnTo>
                    <a:pt x="132852" y="81716"/>
                  </a:lnTo>
                  <a:lnTo>
                    <a:pt x="132341" y="81409"/>
                  </a:lnTo>
                  <a:lnTo>
                    <a:pt x="132750" y="82023"/>
                  </a:lnTo>
                  <a:lnTo>
                    <a:pt x="132648" y="82023"/>
                  </a:lnTo>
                  <a:lnTo>
                    <a:pt x="133261" y="82636"/>
                  </a:lnTo>
                  <a:lnTo>
                    <a:pt x="132955" y="82534"/>
                  </a:lnTo>
                  <a:lnTo>
                    <a:pt x="135205" y="85909"/>
                  </a:lnTo>
                  <a:lnTo>
                    <a:pt x="136023" y="86114"/>
                  </a:lnTo>
                  <a:lnTo>
                    <a:pt x="135307" y="86318"/>
                  </a:lnTo>
                  <a:lnTo>
                    <a:pt x="135920" y="89284"/>
                  </a:lnTo>
                  <a:lnTo>
                    <a:pt x="136023" y="89182"/>
                  </a:lnTo>
                  <a:lnTo>
                    <a:pt x="136432" y="92557"/>
                  </a:lnTo>
                  <a:lnTo>
                    <a:pt x="134795" y="96648"/>
                  </a:lnTo>
                  <a:lnTo>
                    <a:pt x="137045" y="103602"/>
                  </a:lnTo>
                  <a:lnTo>
                    <a:pt x="136943" y="103602"/>
                  </a:lnTo>
                  <a:lnTo>
                    <a:pt x="140011" y="115364"/>
                  </a:lnTo>
                  <a:lnTo>
                    <a:pt x="146148" y="114955"/>
                  </a:lnTo>
                  <a:lnTo>
                    <a:pt x="146557" y="114648"/>
                  </a:lnTo>
                  <a:lnTo>
                    <a:pt x="147068" y="114648"/>
                  </a:lnTo>
                  <a:lnTo>
                    <a:pt x="152693" y="109125"/>
                  </a:lnTo>
                  <a:lnTo>
                    <a:pt x="153205" y="106977"/>
                  </a:lnTo>
                  <a:lnTo>
                    <a:pt x="153102" y="107080"/>
                  </a:lnTo>
                  <a:lnTo>
                    <a:pt x="153205" y="106875"/>
                  </a:lnTo>
                  <a:lnTo>
                    <a:pt x="153205" y="106977"/>
                  </a:lnTo>
                  <a:lnTo>
                    <a:pt x="155659" y="104523"/>
                  </a:lnTo>
                  <a:lnTo>
                    <a:pt x="155659" y="102784"/>
                  </a:lnTo>
                  <a:lnTo>
                    <a:pt x="155557" y="103091"/>
                  </a:lnTo>
                  <a:lnTo>
                    <a:pt x="155045" y="100330"/>
                  </a:lnTo>
                  <a:lnTo>
                    <a:pt x="160670" y="95932"/>
                  </a:lnTo>
                  <a:lnTo>
                    <a:pt x="160875" y="91125"/>
                  </a:lnTo>
                  <a:lnTo>
                    <a:pt x="160057" y="90307"/>
                  </a:lnTo>
                  <a:lnTo>
                    <a:pt x="159955" y="87136"/>
                  </a:lnTo>
                  <a:lnTo>
                    <a:pt x="159341" y="86523"/>
                  </a:lnTo>
                  <a:lnTo>
                    <a:pt x="161284" y="82125"/>
                  </a:lnTo>
                  <a:lnTo>
                    <a:pt x="161693" y="82023"/>
                  </a:lnTo>
                  <a:lnTo>
                    <a:pt x="170591" y="69341"/>
                  </a:lnTo>
                  <a:lnTo>
                    <a:pt x="170386" y="69136"/>
                  </a:lnTo>
                  <a:lnTo>
                    <a:pt x="170284" y="69341"/>
                  </a:lnTo>
                  <a:lnTo>
                    <a:pt x="170182" y="67807"/>
                  </a:lnTo>
                  <a:lnTo>
                    <a:pt x="164557" y="69341"/>
                  </a:lnTo>
                  <a:lnTo>
                    <a:pt x="162511" y="68114"/>
                  </a:lnTo>
                  <a:lnTo>
                    <a:pt x="163330" y="67602"/>
                  </a:lnTo>
                  <a:lnTo>
                    <a:pt x="162920" y="66784"/>
                  </a:lnTo>
                  <a:lnTo>
                    <a:pt x="162920" y="66886"/>
                  </a:lnTo>
                  <a:lnTo>
                    <a:pt x="159955" y="64125"/>
                  </a:lnTo>
                  <a:lnTo>
                    <a:pt x="159955" y="64534"/>
                  </a:lnTo>
                  <a:lnTo>
                    <a:pt x="157193" y="58295"/>
                  </a:lnTo>
                  <a:lnTo>
                    <a:pt x="157193" y="58295"/>
                  </a:lnTo>
                  <a:lnTo>
                    <a:pt x="157295" y="58398"/>
                  </a:lnTo>
                  <a:lnTo>
                    <a:pt x="156375" y="56761"/>
                  </a:lnTo>
                  <a:lnTo>
                    <a:pt x="155966" y="56557"/>
                  </a:lnTo>
                  <a:lnTo>
                    <a:pt x="155659" y="56148"/>
                  </a:lnTo>
                  <a:lnTo>
                    <a:pt x="155864" y="55432"/>
                  </a:lnTo>
                  <a:lnTo>
                    <a:pt x="152591" y="49193"/>
                  </a:lnTo>
                  <a:lnTo>
                    <a:pt x="152591" y="49193"/>
                  </a:lnTo>
                  <a:lnTo>
                    <a:pt x="153716" y="51136"/>
                  </a:lnTo>
                  <a:lnTo>
                    <a:pt x="154330" y="50830"/>
                  </a:lnTo>
                  <a:lnTo>
                    <a:pt x="154739" y="49602"/>
                  </a:lnTo>
                  <a:lnTo>
                    <a:pt x="154534" y="51136"/>
                  </a:lnTo>
                  <a:lnTo>
                    <a:pt x="158727" y="56557"/>
                  </a:lnTo>
                  <a:lnTo>
                    <a:pt x="158625" y="56557"/>
                  </a:lnTo>
                  <a:lnTo>
                    <a:pt x="162614" y="64330"/>
                  </a:lnTo>
                  <a:lnTo>
                    <a:pt x="162511" y="64227"/>
                  </a:lnTo>
                  <a:lnTo>
                    <a:pt x="162511" y="64227"/>
                  </a:lnTo>
                  <a:lnTo>
                    <a:pt x="163330" y="66989"/>
                  </a:lnTo>
                  <a:lnTo>
                    <a:pt x="171102" y="63818"/>
                  </a:lnTo>
                  <a:lnTo>
                    <a:pt x="171102" y="63409"/>
                  </a:lnTo>
                  <a:lnTo>
                    <a:pt x="173557" y="62489"/>
                  </a:lnTo>
                  <a:lnTo>
                    <a:pt x="173659" y="61977"/>
                  </a:lnTo>
                  <a:lnTo>
                    <a:pt x="174580" y="61568"/>
                  </a:lnTo>
                  <a:lnTo>
                    <a:pt x="174989" y="60750"/>
                  </a:lnTo>
                  <a:lnTo>
                    <a:pt x="175807" y="60443"/>
                  </a:lnTo>
                  <a:lnTo>
                    <a:pt x="175705" y="59625"/>
                  </a:lnTo>
                  <a:lnTo>
                    <a:pt x="176114" y="58807"/>
                  </a:lnTo>
                  <a:lnTo>
                    <a:pt x="176216" y="59114"/>
                  </a:lnTo>
                  <a:lnTo>
                    <a:pt x="177341" y="57170"/>
                  </a:lnTo>
                  <a:lnTo>
                    <a:pt x="174273" y="54920"/>
                  </a:lnTo>
                  <a:lnTo>
                    <a:pt x="173864" y="52977"/>
                  </a:lnTo>
                  <a:lnTo>
                    <a:pt x="172330" y="55023"/>
                  </a:lnTo>
                  <a:lnTo>
                    <a:pt x="170080" y="55330"/>
                  </a:lnTo>
                  <a:lnTo>
                    <a:pt x="169875" y="55023"/>
                  </a:lnTo>
                  <a:lnTo>
                    <a:pt x="169568" y="55023"/>
                  </a:lnTo>
                  <a:lnTo>
                    <a:pt x="169670" y="54818"/>
                  </a:lnTo>
                  <a:lnTo>
                    <a:pt x="169466" y="54716"/>
                  </a:lnTo>
                  <a:lnTo>
                    <a:pt x="169670" y="54000"/>
                  </a:lnTo>
                  <a:lnTo>
                    <a:pt x="169466" y="53284"/>
                  </a:lnTo>
                  <a:lnTo>
                    <a:pt x="169057" y="53795"/>
                  </a:lnTo>
                  <a:lnTo>
                    <a:pt x="169057" y="54511"/>
                  </a:lnTo>
                  <a:lnTo>
                    <a:pt x="168239" y="53182"/>
                  </a:lnTo>
                  <a:lnTo>
                    <a:pt x="168341" y="53182"/>
                  </a:lnTo>
                  <a:lnTo>
                    <a:pt x="168239" y="52568"/>
                  </a:lnTo>
                  <a:lnTo>
                    <a:pt x="168341" y="52568"/>
                  </a:lnTo>
                  <a:lnTo>
                    <a:pt x="165886" y="49807"/>
                  </a:lnTo>
                  <a:lnTo>
                    <a:pt x="166193" y="49602"/>
                  </a:lnTo>
                  <a:lnTo>
                    <a:pt x="165989" y="49193"/>
                  </a:lnTo>
                  <a:lnTo>
                    <a:pt x="166398" y="49295"/>
                  </a:lnTo>
                  <a:lnTo>
                    <a:pt x="166807" y="48682"/>
                  </a:lnTo>
                  <a:lnTo>
                    <a:pt x="166807" y="48784"/>
                  </a:lnTo>
                  <a:lnTo>
                    <a:pt x="171409" y="52568"/>
                  </a:lnTo>
                  <a:lnTo>
                    <a:pt x="172943" y="52466"/>
                  </a:lnTo>
                  <a:lnTo>
                    <a:pt x="173557" y="52057"/>
                  </a:lnTo>
                  <a:lnTo>
                    <a:pt x="174273" y="52364"/>
                  </a:lnTo>
                  <a:lnTo>
                    <a:pt x="174580" y="53182"/>
                  </a:lnTo>
                  <a:lnTo>
                    <a:pt x="177545" y="54000"/>
                  </a:lnTo>
                  <a:lnTo>
                    <a:pt x="177648" y="53898"/>
                  </a:lnTo>
                  <a:lnTo>
                    <a:pt x="177750" y="54000"/>
                  </a:lnTo>
                  <a:lnTo>
                    <a:pt x="182761" y="53898"/>
                  </a:lnTo>
                  <a:lnTo>
                    <a:pt x="182557" y="53795"/>
                  </a:lnTo>
                  <a:lnTo>
                    <a:pt x="182557" y="53795"/>
                  </a:lnTo>
                  <a:lnTo>
                    <a:pt x="182864" y="53898"/>
                  </a:lnTo>
                  <a:lnTo>
                    <a:pt x="182966" y="53898"/>
                  </a:lnTo>
                  <a:lnTo>
                    <a:pt x="184091" y="55432"/>
                  </a:lnTo>
                  <a:lnTo>
                    <a:pt x="184500" y="55636"/>
                  </a:lnTo>
                  <a:lnTo>
                    <a:pt x="184500" y="55534"/>
                  </a:lnTo>
                  <a:lnTo>
                    <a:pt x="185114" y="55534"/>
                  </a:lnTo>
                  <a:lnTo>
                    <a:pt x="184909" y="56045"/>
                  </a:lnTo>
                  <a:lnTo>
                    <a:pt x="185727" y="56557"/>
                  </a:lnTo>
                  <a:lnTo>
                    <a:pt x="186750" y="56250"/>
                  </a:lnTo>
                  <a:lnTo>
                    <a:pt x="185727" y="57068"/>
                  </a:lnTo>
                  <a:lnTo>
                    <a:pt x="185420" y="57068"/>
                  </a:lnTo>
                  <a:lnTo>
                    <a:pt x="187568" y="58602"/>
                  </a:lnTo>
                  <a:lnTo>
                    <a:pt x="188386" y="58193"/>
                  </a:lnTo>
                  <a:lnTo>
                    <a:pt x="188284" y="57170"/>
                  </a:lnTo>
                  <a:lnTo>
                    <a:pt x="188898" y="57170"/>
                  </a:lnTo>
                  <a:lnTo>
                    <a:pt x="188693" y="57682"/>
                  </a:lnTo>
                  <a:lnTo>
                    <a:pt x="189205" y="57682"/>
                  </a:lnTo>
                  <a:lnTo>
                    <a:pt x="188795" y="57989"/>
                  </a:lnTo>
                  <a:lnTo>
                    <a:pt x="188898" y="57989"/>
                  </a:lnTo>
                  <a:lnTo>
                    <a:pt x="189307" y="60239"/>
                  </a:lnTo>
                  <a:lnTo>
                    <a:pt x="189205" y="60239"/>
                  </a:lnTo>
                  <a:lnTo>
                    <a:pt x="189205" y="60545"/>
                  </a:lnTo>
                  <a:lnTo>
                    <a:pt x="189307" y="60341"/>
                  </a:lnTo>
                  <a:lnTo>
                    <a:pt x="190636" y="64227"/>
                  </a:lnTo>
                  <a:lnTo>
                    <a:pt x="190534" y="64227"/>
                  </a:lnTo>
                  <a:lnTo>
                    <a:pt x="193160" y="69965"/>
                  </a:lnTo>
                  <a:lnTo>
                    <a:pt x="194216" y="71693"/>
                  </a:lnTo>
                  <a:lnTo>
                    <a:pt x="195955" y="70568"/>
                  </a:lnTo>
                  <a:lnTo>
                    <a:pt x="195545" y="70261"/>
                  </a:lnTo>
                  <a:lnTo>
                    <a:pt x="195852" y="69443"/>
                  </a:lnTo>
                  <a:lnTo>
                    <a:pt x="196364" y="69239"/>
                  </a:lnTo>
                  <a:lnTo>
                    <a:pt x="196568" y="66375"/>
                  </a:lnTo>
                  <a:lnTo>
                    <a:pt x="196466" y="66170"/>
                  </a:lnTo>
                  <a:lnTo>
                    <a:pt x="196261" y="63920"/>
                  </a:lnTo>
                  <a:lnTo>
                    <a:pt x="196875" y="63818"/>
                  </a:lnTo>
                  <a:lnTo>
                    <a:pt x="200455" y="59830"/>
                  </a:lnTo>
                  <a:lnTo>
                    <a:pt x="200250" y="59932"/>
                  </a:lnTo>
                  <a:lnTo>
                    <a:pt x="200250" y="59932"/>
                  </a:lnTo>
                  <a:lnTo>
                    <a:pt x="201580" y="58705"/>
                  </a:lnTo>
                  <a:lnTo>
                    <a:pt x="201477" y="58091"/>
                  </a:lnTo>
                  <a:lnTo>
                    <a:pt x="202398" y="57580"/>
                  </a:lnTo>
                  <a:lnTo>
                    <a:pt x="202295" y="57068"/>
                  </a:lnTo>
                  <a:lnTo>
                    <a:pt x="202500" y="57580"/>
                  </a:lnTo>
                  <a:lnTo>
                    <a:pt x="202705" y="57682"/>
                  </a:lnTo>
                  <a:lnTo>
                    <a:pt x="202909" y="57273"/>
                  </a:lnTo>
                  <a:lnTo>
                    <a:pt x="203114" y="57886"/>
                  </a:lnTo>
                  <a:lnTo>
                    <a:pt x="203216" y="57682"/>
                  </a:lnTo>
                  <a:lnTo>
                    <a:pt x="203420" y="57784"/>
                  </a:lnTo>
                  <a:lnTo>
                    <a:pt x="203420" y="57784"/>
                  </a:lnTo>
                  <a:lnTo>
                    <a:pt x="203216" y="57477"/>
                  </a:lnTo>
                  <a:lnTo>
                    <a:pt x="203318" y="57273"/>
                  </a:lnTo>
                  <a:lnTo>
                    <a:pt x="203625" y="57682"/>
                  </a:lnTo>
                  <a:lnTo>
                    <a:pt x="203625" y="57170"/>
                  </a:lnTo>
                  <a:lnTo>
                    <a:pt x="203830" y="57682"/>
                  </a:lnTo>
                  <a:lnTo>
                    <a:pt x="204136" y="56966"/>
                  </a:lnTo>
                  <a:lnTo>
                    <a:pt x="204136" y="57375"/>
                  </a:lnTo>
                  <a:lnTo>
                    <a:pt x="204341" y="57273"/>
                  </a:lnTo>
                  <a:lnTo>
                    <a:pt x="204341" y="57580"/>
                  </a:lnTo>
                  <a:lnTo>
                    <a:pt x="204648" y="57170"/>
                  </a:lnTo>
                  <a:lnTo>
                    <a:pt x="204545" y="56250"/>
                  </a:lnTo>
                  <a:lnTo>
                    <a:pt x="204239" y="55943"/>
                  </a:lnTo>
                  <a:lnTo>
                    <a:pt x="204443" y="55943"/>
                  </a:lnTo>
                  <a:lnTo>
                    <a:pt x="204443" y="55739"/>
                  </a:lnTo>
                  <a:lnTo>
                    <a:pt x="205773" y="57068"/>
                  </a:lnTo>
                  <a:lnTo>
                    <a:pt x="206795" y="59216"/>
                  </a:lnTo>
                  <a:lnTo>
                    <a:pt x="206795" y="58909"/>
                  </a:lnTo>
                  <a:lnTo>
                    <a:pt x="207102" y="59011"/>
                  </a:lnTo>
                  <a:lnTo>
                    <a:pt x="207307" y="59625"/>
                  </a:lnTo>
                  <a:lnTo>
                    <a:pt x="207307" y="59420"/>
                  </a:lnTo>
                  <a:lnTo>
                    <a:pt x="207818" y="59523"/>
                  </a:lnTo>
                  <a:lnTo>
                    <a:pt x="208125" y="60136"/>
                  </a:lnTo>
                  <a:lnTo>
                    <a:pt x="207716" y="60136"/>
                  </a:lnTo>
                  <a:lnTo>
                    <a:pt x="208125" y="60648"/>
                  </a:lnTo>
                  <a:lnTo>
                    <a:pt x="208125" y="60239"/>
                  </a:lnTo>
                  <a:lnTo>
                    <a:pt x="208432" y="60750"/>
                  </a:lnTo>
                  <a:lnTo>
                    <a:pt x="208330" y="60750"/>
                  </a:lnTo>
                  <a:lnTo>
                    <a:pt x="208739" y="63614"/>
                  </a:lnTo>
                  <a:lnTo>
                    <a:pt x="209148" y="63102"/>
                  </a:lnTo>
                  <a:lnTo>
                    <a:pt x="209148" y="63716"/>
                  </a:lnTo>
                  <a:lnTo>
                    <a:pt x="209352" y="63409"/>
                  </a:lnTo>
                  <a:lnTo>
                    <a:pt x="210170" y="63409"/>
                  </a:lnTo>
                  <a:lnTo>
                    <a:pt x="210477" y="63205"/>
                  </a:lnTo>
                  <a:lnTo>
                    <a:pt x="210477" y="62795"/>
                  </a:lnTo>
                  <a:lnTo>
                    <a:pt x="210886" y="62898"/>
                  </a:lnTo>
                  <a:lnTo>
                    <a:pt x="210989" y="62182"/>
                  </a:lnTo>
                  <a:lnTo>
                    <a:pt x="211807" y="63000"/>
                  </a:lnTo>
                  <a:lnTo>
                    <a:pt x="212318" y="64943"/>
                  </a:lnTo>
                  <a:lnTo>
                    <a:pt x="212216" y="64943"/>
                  </a:lnTo>
                  <a:lnTo>
                    <a:pt x="212523" y="65966"/>
                  </a:lnTo>
                  <a:lnTo>
                    <a:pt x="212625" y="65659"/>
                  </a:lnTo>
                  <a:lnTo>
                    <a:pt x="213239" y="69750"/>
                  </a:lnTo>
                  <a:lnTo>
                    <a:pt x="213341" y="69545"/>
                  </a:lnTo>
                  <a:lnTo>
                    <a:pt x="213136" y="71386"/>
                  </a:lnTo>
                  <a:lnTo>
                    <a:pt x="218045" y="78545"/>
                  </a:lnTo>
                  <a:lnTo>
                    <a:pt x="218455" y="78545"/>
                  </a:lnTo>
                  <a:lnTo>
                    <a:pt x="218557" y="78341"/>
                  </a:lnTo>
                  <a:lnTo>
                    <a:pt x="218864" y="78341"/>
                  </a:lnTo>
                  <a:lnTo>
                    <a:pt x="217739" y="74659"/>
                  </a:lnTo>
                  <a:lnTo>
                    <a:pt x="215182" y="72307"/>
                  </a:lnTo>
                  <a:lnTo>
                    <a:pt x="215284" y="72614"/>
                  </a:lnTo>
                  <a:lnTo>
                    <a:pt x="214875" y="72102"/>
                  </a:lnTo>
                  <a:lnTo>
                    <a:pt x="215182" y="72307"/>
                  </a:lnTo>
                  <a:lnTo>
                    <a:pt x="214875" y="71284"/>
                  </a:lnTo>
                  <a:lnTo>
                    <a:pt x="214773" y="71386"/>
                  </a:lnTo>
                  <a:lnTo>
                    <a:pt x="213852" y="69852"/>
                  </a:lnTo>
                  <a:lnTo>
                    <a:pt x="214364" y="66580"/>
                  </a:lnTo>
                  <a:lnTo>
                    <a:pt x="214261" y="66375"/>
                  </a:lnTo>
                  <a:lnTo>
                    <a:pt x="215080" y="66273"/>
                  </a:lnTo>
                  <a:lnTo>
                    <a:pt x="215080" y="66784"/>
                  </a:lnTo>
                  <a:lnTo>
                    <a:pt x="216409" y="67398"/>
                  </a:lnTo>
                  <a:lnTo>
                    <a:pt x="216409" y="67295"/>
                  </a:lnTo>
                  <a:lnTo>
                    <a:pt x="216716" y="67602"/>
                  </a:lnTo>
                  <a:lnTo>
                    <a:pt x="216716" y="67500"/>
                  </a:lnTo>
                  <a:lnTo>
                    <a:pt x="217023" y="68011"/>
                  </a:lnTo>
                  <a:lnTo>
                    <a:pt x="217125" y="67909"/>
                  </a:lnTo>
                  <a:lnTo>
                    <a:pt x="217330" y="68625"/>
                  </a:lnTo>
                  <a:lnTo>
                    <a:pt x="217636" y="68625"/>
                  </a:lnTo>
                  <a:lnTo>
                    <a:pt x="217739" y="69034"/>
                  </a:lnTo>
                  <a:lnTo>
                    <a:pt x="219068" y="69648"/>
                  </a:lnTo>
                  <a:lnTo>
                    <a:pt x="218966" y="71182"/>
                  </a:lnTo>
                  <a:lnTo>
                    <a:pt x="218966" y="71182"/>
                  </a:lnTo>
                  <a:lnTo>
                    <a:pt x="219886" y="70568"/>
                  </a:lnTo>
                  <a:lnTo>
                    <a:pt x="219886" y="69750"/>
                  </a:lnTo>
                  <a:lnTo>
                    <a:pt x="220500" y="70159"/>
                  </a:lnTo>
                  <a:lnTo>
                    <a:pt x="220091" y="69545"/>
                  </a:lnTo>
                  <a:lnTo>
                    <a:pt x="220602" y="69852"/>
                  </a:lnTo>
                  <a:lnTo>
                    <a:pt x="220398" y="69443"/>
                  </a:lnTo>
                  <a:lnTo>
                    <a:pt x="222545" y="68318"/>
                  </a:lnTo>
                  <a:lnTo>
                    <a:pt x="222737" y="67743"/>
                  </a:lnTo>
                  <a:lnTo>
                    <a:pt x="222648" y="67295"/>
                  </a:lnTo>
                  <a:lnTo>
                    <a:pt x="222750" y="67295"/>
                  </a:lnTo>
                  <a:lnTo>
                    <a:pt x="222750" y="66886"/>
                  </a:lnTo>
                  <a:lnTo>
                    <a:pt x="222852" y="67091"/>
                  </a:lnTo>
                  <a:lnTo>
                    <a:pt x="222545" y="65864"/>
                  </a:lnTo>
                  <a:lnTo>
                    <a:pt x="219375" y="61773"/>
                  </a:lnTo>
                  <a:lnTo>
                    <a:pt x="219477" y="61773"/>
                  </a:lnTo>
                  <a:lnTo>
                    <a:pt x="218659" y="60239"/>
                  </a:lnTo>
                  <a:lnTo>
                    <a:pt x="219170" y="58398"/>
                  </a:lnTo>
                  <a:lnTo>
                    <a:pt x="219682" y="58500"/>
                  </a:lnTo>
                  <a:lnTo>
                    <a:pt x="220602" y="57477"/>
                  </a:lnTo>
                  <a:lnTo>
                    <a:pt x="221216" y="57989"/>
                  </a:lnTo>
                  <a:lnTo>
                    <a:pt x="221625" y="57682"/>
                  </a:lnTo>
                  <a:lnTo>
                    <a:pt x="221830" y="57886"/>
                  </a:lnTo>
                  <a:lnTo>
                    <a:pt x="221830" y="58500"/>
                  </a:lnTo>
                  <a:lnTo>
                    <a:pt x="222239" y="59011"/>
                  </a:lnTo>
                  <a:lnTo>
                    <a:pt x="222136" y="59011"/>
                  </a:lnTo>
                  <a:lnTo>
                    <a:pt x="222545" y="59114"/>
                  </a:lnTo>
                  <a:lnTo>
                    <a:pt x="222239" y="58500"/>
                  </a:lnTo>
                  <a:lnTo>
                    <a:pt x="222443" y="58091"/>
                  </a:lnTo>
                  <a:lnTo>
                    <a:pt x="224080" y="57477"/>
                  </a:lnTo>
                  <a:lnTo>
                    <a:pt x="224591" y="57477"/>
                  </a:lnTo>
                  <a:lnTo>
                    <a:pt x="224693" y="57170"/>
                  </a:lnTo>
                  <a:lnTo>
                    <a:pt x="225102" y="57068"/>
                  </a:lnTo>
                  <a:lnTo>
                    <a:pt x="224795" y="56455"/>
                  </a:lnTo>
                  <a:lnTo>
                    <a:pt x="225000" y="56250"/>
                  </a:lnTo>
                  <a:lnTo>
                    <a:pt x="225716" y="57068"/>
                  </a:lnTo>
                  <a:lnTo>
                    <a:pt x="226023" y="56659"/>
                  </a:lnTo>
                  <a:lnTo>
                    <a:pt x="226125" y="56761"/>
                  </a:lnTo>
                  <a:lnTo>
                    <a:pt x="226534" y="56659"/>
                  </a:lnTo>
                  <a:lnTo>
                    <a:pt x="226739" y="56659"/>
                  </a:lnTo>
                  <a:lnTo>
                    <a:pt x="226739" y="56557"/>
                  </a:lnTo>
                  <a:lnTo>
                    <a:pt x="227352" y="56455"/>
                  </a:lnTo>
                  <a:lnTo>
                    <a:pt x="227761" y="55739"/>
                  </a:lnTo>
                  <a:lnTo>
                    <a:pt x="228170" y="55739"/>
                  </a:lnTo>
                  <a:lnTo>
                    <a:pt x="228375" y="55534"/>
                  </a:lnTo>
                  <a:lnTo>
                    <a:pt x="228477" y="54920"/>
                  </a:lnTo>
                  <a:lnTo>
                    <a:pt x="229807" y="54000"/>
                  </a:lnTo>
                  <a:lnTo>
                    <a:pt x="229705" y="53386"/>
                  </a:lnTo>
                  <a:lnTo>
                    <a:pt x="229193" y="53182"/>
                  </a:lnTo>
                  <a:lnTo>
                    <a:pt x="229807" y="52977"/>
                  </a:lnTo>
                  <a:lnTo>
                    <a:pt x="229398" y="52466"/>
                  </a:lnTo>
                  <a:lnTo>
                    <a:pt x="229602" y="52466"/>
                  </a:lnTo>
                  <a:lnTo>
                    <a:pt x="229807" y="52670"/>
                  </a:lnTo>
                  <a:lnTo>
                    <a:pt x="230318" y="50932"/>
                  </a:lnTo>
                  <a:lnTo>
                    <a:pt x="230727" y="50932"/>
                  </a:lnTo>
                  <a:lnTo>
                    <a:pt x="230523" y="50318"/>
                  </a:lnTo>
                  <a:lnTo>
                    <a:pt x="230625" y="50318"/>
                  </a:lnTo>
                  <a:lnTo>
                    <a:pt x="230318" y="50114"/>
                  </a:lnTo>
                  <a:lnTo>
                    <a:pt x="230727" y="50114"/>
                  </a:lnTo>
                  <a:lnTo>
                    <a:pt x="230625" y="49602"/>
                  </a:lnTo>
                  <a:lnTo>
                    <a:pt x="230318" y="49705"/>
                  </a:lnTo>
                  <a:lnTo>
                    <a:pt x="230625" y="49295"/>
                  </a:lnTo>
                  <a:lnTo>
                    <a:pt x="229807" y="48886"/>
                  </a:lnTo>
                  <a:lnTo>
                    <a:pt x="229295" y="49091"/>
                  </a:lnTo>
                  <a:lnTo>
                    <a:pt x="228886" y="48989"/>
                  </a:lnTo>
                  <a:lnTo>
                    <a:pt x="230011" y="48273"/>
                  </a:lnTo>
                  <a:lnTo>
                    <a:pt x="229909" y="47966"/>
                  </a:lnTo>
                  <a:lnTo>
                    <a:pt x="228682" y="47148"/>
                  </a:lnTo>
                  <a:lnTo>
                    <a:pt x="228170" y="47250"/>
                  </a:lnTo>
                  <a:lnTo>
                    <a:pt x="228477" y="47045"/>
                  </a:lnTo>
                  <a:lnTo>
                    <a:pt x="229807" y="47455"/>
                  </a:lnTo>
                  <a:lnTo>
                    <a:pt x="226227" y="44080"/>
                  </a:lnTo>
                  <a:lnTo>
                    <a:pt x="226739" y="43057"/>
                  </a:lnTo>
                  <a:lnTo>
                    <a:pt x="226534" y="42750"/>
                  </a:lnTo>
                  <a:lnTo>
                    <a:pt x="226534" y="42750"/>
                  </a:lnTo>
                  <a:lnTo>
                    <a:pt x="226739" y="42955"/>
                  </a:lnTo>
                  <a:lnTo>
                    <a:pt x="227045" y="42545"/>
                  </a:lnTo>
                  <a:lnTo>
                    <a:pt x="226943" y="42341"/>
                  </a:lnTo>
                  <a:lnTo>
                    <a:pt x="228170" y="41932"/>
                  </a:lnTo>
                  <a:lnTo>
                    <a:pt x="228170" y="41523"/>
                  </a:lnTo>
                  <a:lnTo>
                    <a:pt x="225920" y="41216"/>
                  </a:lnTo>
                  <a:lnTo>
                    <a:pt x="225511" y="41830"/>
                  </a:lnTo>
                  <a:lnTo>
                    <a:pt x="225000" y="41625"/>
                  </a:lnTo>
                  <a:lnTo>
                    <a:pt x="224898" y="41216"/>
                  </a:lnTo>
                  <a:lnTo>
                    <a:pt x="223159" y="39989"/>
                  </a:lnTo>
                  <a:lnTo>
                    <a:pt x="224182" y="39580"/>
                  </a:lnTo>
                  <a:lnTo>
                    <a:pt x="224284" y="38966"/>
                  </a:lnTo>
                  <a:lnTo>
                    <a:pt x="224898" y="38659"/>
                  </a:lnTo>
                  <a:lnTo>
                    <a:pt x="225000" y="38250"/>
                  </a:lnTo>
                  <a:lnTo>
                    <a:pt x="225614" y="37943"/>
                  </a:lnTo>
                  <a:lnTo>
                    <a:pt x="226227" y="38557"/>
                  </a:lnTo>
                  <a:lnTo>
                    <a:pt x="226023" y="39477"/>
                  </a:lnTo>
                  <a:lnTo>
                    <a:pt x="226432" y="39477"/>
                  </a:lnTo>
                  <a:lnTo>
                    <a:pt x="226432" y="39784"/>
                  </a:lnTo>
                  <a:lnTo>
                    <a:pt x="226125" y="39989"/>
                  </a:lnTo>
                  <a:lnTo>
                    <a:pt x="226534" y="39989"/>
                  </a:lnTo>
                  <a:lnTo>
                    <a:pt x="226636" y="39886"/>
                  </a:lnTo>
                  <a:lnTo>
                    <a:pt x="228273" y="38864"/>
                  </a:lnTo>
                  <a:lnTo>
                    <a:pt x="228682" y="39273"/>
                  </a:lnTo>
                  <a:lnTo>
                    <a:pt x="228784" y="39068"/>
                  </a:lnTo>
                  <a:lnTo>
                    <a:pt x="229500" y="39580"/>
                  </a:lnTo>
                  <a:lnTo>
                    <a:pt x="229602" y="40091"/>
                  </a:lnTo>
                  <a:lnTo>
                    <a:pt x="229909" y="40193"/>
                  </a:lnTo>
                  <a:lnTo>
                    <a:pt x="229500" y="40807"/>
                  </a:lnTo>
                  <a:lnTo>
                    <a:pt x="230011" y="40807"/>
                  </a:lnTo>
                  <a:lnTo>
                    <a:pt x="229807" y="41011"/>
                  </a:lnTo>
                  <a:lnTo>
                    <a:pt x="230114" y="41114"/>
                  </a:lnTo>
                  <a:lnTo>
                    <a:pt x="230216" y="41216"/>
                  </a:lnTo>
                  <a:lnTo>
                    <a:pt x="230420" y="41114"/>
                  </a:lnTo>
                  <a:lnTo>
                    <a:pt x="230523" y="40909"/>
                  </a:lnTo>
                  <a:lnTo>
                    <a:pt x="231955" y="42136"/>
                  </a:lnTo>
                  <a:lnTo>
                    <a:pt x="231341" y="42136"/>
                  </a:lnTo>
                  <a:lnTo>
                    <a:pt x="232670" y="44182"/>
                  </a:lnTo>
                  <a:lnTo>
                    <a:pt x="232568" y="44284"/>
                  </a:lnTo>
                  <a:lnTo>
                    <a:pt x="232670" y="44386"/>
                  </a:lnTo>
                  <a:lnTo>
                    <a:pt x="232466" y="44386"/>
                  </a:lnTo>
                  <a:lnTo>
                    <a:pt x="232875" y="44795"/>
                  </a:lnTo>
                  <a:lnTo>
                    <a:pt x="233080" y="44591"/>
                  </a:lnTo>
                  <a:lnTo>
                    <a:pt x="233182" y="44284"/>
                  </a:lnTo>
                  <a:lnTo>
                    <a:pt x="233489" y="44489"/>
                  </a:lnTo>
                  <a:lnTo>
                    <a:pt x="233386" y="44284"/>
                  </a:lnTo>
                  <a:lnTo>
                    <a:pt x="233591" y="44284"/>
                  </a:lnTo>
                  <a:lnTo>
                    <a:pt x="233693" y="44080"/>
                  </a:lnTo>
                  <a:lnTo>
                    <a:pt x="234205" y="44182"/>
                  </a:lnTo>
                  <a:lnTo>
                    <a:pt x="234614" y="43875"/>
                  </a:lnTo>
                  <a:lnTo>
                    <a:pt x="234614" y="42955"/>
                  </a:lnTo>
                  <a:lnTo>
                    <a:pt x="231034" y="39170"/>
                  </a:lnTo>
                  <a:lnTo>
                    <a:pt x="232261" y="38045"/>
                  </a:lnTo>
                  <a:lnTo>
                    <a:pt x="232057" y="36205"/>
                  </a:lnTo>
                  <a:lnTo>
                    <a:pt x="232057" y="36205"/>
                  </a:lnTo>
                  <a:lnTo>
                    <a:pt x="232364" y="36307"/>
                  </a:lnTo>
                  <a:lnTo>
                    <a:pt x="232670" y="35591"/>
                  </a:lnTo>
                  <a:lnTo>
                    <a:pt x="232977" y="35591"/>
                  </a:lnTo>
                  <a:lnTo>
                    <a:pt x="234102" y="36102"/>
                  </a:lnTo>
                  <a:lnTo>
                    <a:pt x="235739" y="30273"/>
                  </a:lnTo>
                  <a:lnTo>
                    <a:pt x="232670" y="25773"/>
                  </a:lnTo>
                  <a:lnTo>
                    <a:pt x="232670" y="25466"/>
                  </a:lnTo>
                  <a:lnTo>
                    <a:pt x="229909" y="24545"/>
                  </a:lnTo>
                  <a:lnTo>
                    <a:pt x="230420" y="25159"/>
                  </a:lnTo>
                  <a:lnTo>
                    <a:pt x="230318" y="25364"/>
                  </a:lnTo>
                  <a:lnTo>
                    <a:pt x="230114" y="24955"/>
                  </a:lnTo>
                  <a:lnTo>
                    <a:pt x="230114" y="25159"/>
                  </a:lnTo>
                  <a:lnTo>
                    <a:pt x="229500" y="25261"/>
                  </a:lnTo>
                  <a:lnTo>
                    <a:pt x="229602" y="24955"/>
                  </a:lnTo>
                  <a:lnTo>
                    <a:pt x="228886" y="24648"/>
                  </a:lnTo>
                  <a:lnTo>
                    <a:pt x="229193" y="25057"/>
                  </a:lnTo>
                  <a:lnTo>
                    <a:pt x="226841" y="23830"/>
                  </a:lnTo>
                  <a:lnTo>
                    <a:pt x="228068" y="21068"/>
                  </a:lnTo>
                  <a:lnTo>
                    <a:pt x="227864" y="20761"/>
                  </a:lnTo>
                  <a:lnTo>
                    <a:pt x="228170" y="20455"/>
                  </a:lnTo>
                  <a:lnTo>
                    <a:pt x="228170" y="20045"/>
                  </a:lnTo>
                  <a:lnTo>
                    <a:pt x="231034" y="19841"/>
                  </a:lnTo>
                  <a:lnTo>
                    <a:pt x="231034" y="19636"/>
                  </a:lnTo>
                  <a:lnTo>
                    <a:pt x="232875" y="19841"/>
                  </a:lnTo>
                  <a:lnTo>
                    <a:pt x="232568" y="19534"/>
                  </a:lnTo>
                  <a:lnTo>
                    <a:pt x="232875" y="19636"/>
                  </a:lnTo>
                  <a:lnTo>
                    <a:pt x="232670" y="19432"/>
                  </a:lnTo>
                  <a:lnTo>
                    <a:pt x="233898" y="19534"/>
                  </a:lnTo>
                  <a:lnTo>
                    <a:pt x="233795" y="19636"/>
                  </a:lnTo>
                  <a:lnTo>
                    <a:pt x="235432" y="19841"/>
                  </a:lnTo>
                  <a:lnTo>
                    <a:pt x="234716" y="19943"/>
                  </a:lnTo>
                  <a:lnTo>
                    <a:pt x="236250" y="19943"/>
                  </a:lnTo>
                  <a:lnTo>
                    <a:pt x="236250" y="19841"/>
                  </a:lnTo>
                  <a:lnTo>
                    <a:pt x="236966" y="19943"/>
                  </a:lnTo>
                  <a:lnTo>
                    <a:pt x="237068" y="19841"/>
                  </a:lnTo>
                  <a:lnTo>
                    <a:pt x="237580" y="19841"/>
                  </a:lnTo>
                  <a:lnTo>
                    <a:pt x="236557" y="19636"/>
                  </a:lnTo>
                  <a:lnTo>
                    <a:pt x="236148" y="18818"/>
                  </a:lnTo>
                  <a:lnTo>
                    <a:pt x="236352" y="17489"/>
                  </a:lnTo>
                  <a:lnTo>
                    <a:pt x="238602" y="17693"/>
                  </a:lnTo>
                  <a:lnTo>
                    <a:pt x="239011" y="18205"/>
                  </a:lnTo>
                  <a:lnTo>
                    <a:pt x="239216" y="18102"/>
                  </a:lnTo>
                  <a:lnTo>
                    <a:pt x="239625" y="18511"/>
                  </a:lnTo>
                  <a:lnTo>
                    <a:pt x="239932" y="18409"/>
                  </a:lnTo>
                  <a:lnTo>
                    <a:pt x="240341" y="17591"/>
                  </a:lnTo>
                  <a:lnTo>
                    <a:pt x="240239" y="17489"/>
                  </a:lnTo>
                  <a:lnTo>
                    <a:pt x="240648" y="17693"/>
                  </a:lnTo>
                  <a:lnTo>
                    <a:pt x="239727" y="16773"/>
                  </a:lnTo>
                  <a:lnTo>
                    <a:pt x="241364" y="16875"/>
                  </a:lnTo>
                  <a:lnTo>
                    <a:pt x="240648" y="16875"/>
                  </a:lnTo>
                  <a:lnTo>
                    <a:pt x="241875" y="18307"/>
                  </a:lnTo>
                  <a:lnTo>
                    <a:pt x="241261" y="18614"/>
                  </a:lnTo>
                  <a:lnTo>
                    <a:pt x="241261" y="19432"/>
                  </a:lnTo>
                  <a:lnTo>
                    <a:pt x="241159" y="19534"/>
                  </a:lnTo>
                  <a:lnTo>
                    <a:pt x="241057" y="20966"/>
                  </a:lnTo>
                  <a:lnTo>
                    <a:pt x="240648" y="20966"/>
                  </a:lnTo>
                  <a:lnTo>
                    <a:pt x="240750" y="21170"/>
                  </a:lnTo>
                  <a:lnTo>
                    <a:pt x="240443" y="21273"/>
                  </a:lnTo>
                  <a:lnTo>
                    <a:pt x="240852" y="21784"/>
                  </a:lnTo>
                  <a:lnTo>
                    <a:pt x="240852" y="22398"/>
                  </a:lnTo>
                  <a:lnTo>
                    <a:pt x="246784" y="27716"/>
                  </a:lnTo>
                  <a:lnTo>
                    <a:pt x="247091" y="26898"/>
                  </a:lnTo>
                  <a:lnTo>
                    <a:pt x="246273" y="25773"/>
                  </a:lnTo>
                  <a:lnTo>
                    <a:pt x="246273" y="25773"/>
                  </a:lnTo>
                  <a:lnTo>
                    <a:pt x="246580" y="25977"/>
                  </a:lnTo>
                  <a:lnTo>
                    <a:pt x="247398" y="25773"/>
                  </a:lnTo>
                  <a:lnTo>
                    <a:pt x="246477" y="24852"/>
                  </a:lnTo>
                  <a:lnTo>
                    <a:pt x="246580" y="24341"/>
                  </a:lnTo>
                  <a:lnTo>
                    <a:pt x="247193" y="24341"/>
                  </a:lnTo>
                  <a:lnTo>
                    <a:pt x="246068" y="22705"/>
                  </a:lnTo>
                  <a:lnTo>
                    <a:pt x="246170" y="22398"/>
                  </a:lnTo>
                  <a:lnTo>
                    <a:pt x="246375" y="22807"/>
                  </a:lnTo>
                  <a:lnTo>
                    <a:pt x="246784" y="22705"/>
                  </a:lnTo>
                  <a:lnTo>
                    <a:pt x="245045" y="21170"/>
                  </a:lnTo>
                  <a:lnTo>
                    <a:pt x="244330" y="21068"/>
                  </a:lnTo>
                  <a:lnTo>
                    <a:pt x="244432" y="21273"/>
                  </a:lnTo>
                  <a:lnTo>
                    <a:pt x="243614" y="20761"/>
                  </a:lnTo>
                  <a:lnTo>
                    <a:pt x="243307" y="19943"/>
                  </a:lnTo>
                  <a:lnTo>
                    <a:pt x="243409" y="19943"/>
                  </a:lnTo>
                  <a:lnTo>
                    <a:pt x="242898" y="19227"/>
                  </a:lnTo>
                  <a:lnTo>
                    <a:pt x="244023" y="19227"/>
                  </a:lnTo>
                  <a:lnTo>
                    <a:pt x="243818" y="19023"/>
                  </a:lnTo>
                  <a:lnTo>
                    <a:pt x="244330" y="18716"/>
                  </a:lnTo>
                  <a:lnTo>
                    <a:pt x="244943" y="19227"/>
                  </a:lnTo>
                  <a:lnTo>
                    <a:pt x="244943" y="18920"/>
                  </a:lnTo>
                  <a:lnTo>
                    <a:pt x="245250" y="18716"/>
                  </a:lnTo>
                  <a:lnTo>
                    <a:pt x="247807" y="19125"/>
                  </a:lnTo>
                  <a:lnTo>
                    <a:pt x="247398" y="18716"/>
                  </a:lnTo>
                  <a:lnTo>
                    <a:pt x="247909" y="18102"/>
                  </a:lnTo>
                  <a:lnTo>
                    <a:pt x="247807" y="18000"/>
                  </a:lnTo>
                  <a:lnTo>
                    <a:pt x="247909" y="17898"/>
                  </a:lnTo>
                  <a:lnTo>
                    <a:pt x="248011" y="17898"/>
                  </a:lnTo>
                  <a:lnTo>
                    <a:pt x="247807" y="17693"/>
                  </a:lnTo>
                  <a:lnTo>
                    <a:pt x="248011" y="17795"/>
                  </a:lnTo>
                  <a:lnTo>
                    <a:pt x="248011" y="17489"/>
                  </a:lnTo>
                  <a:lnTo>
                    <a:pt x="249545" y="16773"/>
                  </a:lnTo>
                  <a:lnTo>
                    <a:pt x="249136" y="16568"/>
                  </a:lnTo>
                  <a:lnTo>
                    <a:pt x="251182" y="16977"/>
                  </a:lnTo>
                  <a:lnTo>
                    <a:pt x="251080" y="16670"/>
                  </a:lnTo>
                  <a:lnTo>
                    <a:pt x="249443" y="15852"/>
                  </a:lnTo>
                  <a:lnTo>
                    <a:pt x="249443" y="15852"/>
                  </a:lnTo>
                  <a:lnTo>
                    <a:pt x="249545" y="15955"/>
                  </a:lnTo>
                  <a:lnTo>
                    <a:pt x="249545" y="15955"/>
                  </a:lnTo>
                  <a:lnTo>
                    <a:pt x="249136" y="15750"/>
                  </a:lnTo>
                  <a:lnTo>
                    <a:pt x="249239" y="15750"/>
                  </a:lnTo>
                  <a:lnTo>
                    <a:pt x="248011" y="15034"/>
                  </a:lnTo>
                  <a:lnTo>
                    <a:pt x="248114" y="15239"/>
                  </a:lnTo>
                  <a:lnTo>
                    <a:pt x="245045" y="14830"/>
                  </a:lnTo>
                  <a:lnTo>
                    <a:pt x="246682" y="14625"/>
                  </a:lnTo>
                  <a:lnTo>
                    <a:pt x="245761" y="14420"/>
                  </a:lnTo>
                  <a:lnTo>
                    <a:pt x="248318" y="14420"/>
                  </a:lnTo>
                  <a:lnTo>
                    <a:pt x="237375" y="10125"/>
                  </a:lnTo>
                  <a:lnTo>
                    <a:pt x="237477" y="10227"/>
                  </a:lnTo>
                  <a:lnTo>
                    <a:pt x="235330" y="10023"/>
                  </a:lnTo>
                  <a:lnTo>
                    <a:pt x="236864" y="11148"/>
                  </a:lnTo>
                  <a:lnTo>
                    <a:pt x="236864" y="11148"/>
                  </a:lnTo>
                  <a:lnTo>
                    <a:pt x="234000" y="10330"/>
                  </a:lnTo>
                  <a:lnTo>
                    <a:pt x="233795" y="10432"/>
                  </a:lnTo>
                  <a:lnTo>
                    <a:pt x="230523" y="10432"/>
                  </a:lnTo>
                  <a:lnTo>
                    <a:pt x="231136" y="11352"/>
                  </a:lnTo>
                  <a:lnTo>
                    <a:pt x="231136" y="11352"/>
                  </a:lnTo>
                  <a:lnTo>
                    <a:pt x="222034" y="9205"/>
                  </a:lnTo>
                  <a:lnTo>
                    <a:pt x="222239" y="9205"/>
                  </a:lnTo>
                  <a:lnTo>
                    <a:pt x="219375" y="8591"/>
                  </a:lnTo>
                  <a:lnTo>
                    <a:pt x="219886" y="8489"/>
                  </a:lnTo>
                  <a:lnTo>
                    <a:pt x="217636" y="8080"/>
                  </a:lnTo>
                  <a:lnTo>
                    <a:pt x="217330" y="8591"/>
                  </a:lnTo>
                  <a:lnTo>
                    <a:pt x="216614" y="8489"/>
                  </a:lnTo>
                  <a:lnTo>
                    <a:pt x="217023" y="8489"/>
                  </a:lnTo>
                  <a:lnTo>
                    <a:pt x="216716" y="8182"/>
                  </a:lnTo>
                  <a:lnTo>
                    <a:pt x="215693" y="8182"/>
                  </a:lnTo>
                  <a:lnTo>
                    <a:pt x="216920" y="8080"/>
                  </a:lnTo>
                  <a:lnTo>
                    <a:pt x="212727" y="7670"/>
                  </a:lnTo>
                  <a:lnTo>
                    <a:pt x="213341" y="7875"/>
                  </a:lnTo>
                  <a:lnTo>
                    <a:pt x="212420" y="8080"/>
                  </a:lnTo>
                  <a:lnTo>
                    <a:pt x="213239" y="8182"/>
                  </a:lnTo>
                  <a:lnTo>
                    <a:pt x="213034" y="8284"/>
                  </a:lnTo>
                  <a:lnTo>
                    <a:pt x="212932" y="8386"/>
                  </a:lnTo>
                  <a:lnTo>
                    <a:pt x="213852" y="8795"/>
                  </a:lnTo>
                  <a:lnTo>
                    <a:pt x="212830" y="8795"/>
                  </a:lnTo>
                  <a:lnTo>
                    <a:pt x="213034" y="9000"/>
                  </a:lnTo>
                  <a:lnTo>
                    <a:pt x="212830" y="9000"/>
                  </a:lnTo>
                  <a:lnTo>
                    <a:pt x="213034" y="9102"/>
                  </a:lnTo>
                  <a:lnTo>
                    <a:pt x="210886" y="8693"/>
                  </a:lnTo>
                  <a:lnTo>
                    <a:pt x="210580" y="8898"/>
                  </a:lnTo>
                  <a:lnTo>
                    <a:pt x="208739" y="8591"/>
                  </a:lnTo>
                  <a:lnTo>
                    <a:pt x="209045" y="9000"/>
                  </a:lnTo>
                  <a:lnTo>
                    <a:pt x="209045" y="9409"/>
                  </a:lnTo>
                  <a:lnTo>
                    <a:pt x="208534" y="9307"/>
                  </a:lnTo>
                  <a:lnTo>
                    <a:pt x="206591" y="8693"/>
                  </a:lnTo>
                  <a:lnTo>
                    <a:pt x="206898" y="8591"/>
                  </a:lnTo>
                  <a:lnTo>
                    <a:pt x="205057" y="8080"/>
                  </a:lnTo>
                  <a:lnTo>
                    <a:pt x="206386" y="8284"/>
                  </a:lnTo>
                  <a:lnTo>
                    <a:pt x="205364" y="7977"/>
                  </a:lnTo>
                  <a:lnTo>
                    <a:pt x="205773" y="7773"/>
                  </a:lnTo>
                  <a:lnTo>
                    <a:pt x="201068" y="7057"/>
                  </a:lnTo>
                  <a:lnTo>
                    <a:pt x="201682" y="7364"/>
                  </a:lnTo>
                  <a:lnTo>
                    <a:pt x="201170" y="7568"/>
                  </a:lnTo>
                  <a:lnTo>
                    <a:pt x="201477" y="7670"/>
                  </a:lnTo>
                  <a:lnTo>
                    <a:pt x="198205" y="7159"/>
                  </a:lnTo>
                  <a:lnTo>
                    <a:pt x="195034" y="7159"/>
                  </a:lnTo>
                  <a:lnTo>
                    <a:pt x="195443" y="7261"/>
                  </a:lnTo>
                  <a:lnTo>
                    <a:pt x="195545" y="7568"/>
                  </a:lnTo>
                  <a:lnTo>
                    <a:pt x="195955" y="7875"/>
                  </a:lnTo>
                  <a:lnTo>
                    <a:pt x="195545" y="7670"/>
                  </a:lnTo>
                  <a:lnTo>
                    <a:pt x="195545" y="7568"/>
                  </a:lnTo>
                  <a:lnTo>
                    <a:pt x="194830" y="7159"/>
                  </a:lnTo>
                  <a:lnTo>
                    <a:pt x="194830" y="6955"/>
                  </a:lnTo>
                  <a:lnTo>
                    <a:pt x="194216" y="6750"/>
                  </a:lnTo>
                  <a:lnTo>
                    <a:pt x="194011" y="6955"/>
                  </a:lnTo>
                  <a:lnTo>
                    <a:pt x="193193" y="6750"/>
                  </a:lnTo>
                  <a:lnTo>
                    <a:pt x="193295" y="6750"/>
                  </a:lnTo>
                  <a:lnTo>
                    <a:pt x="192989" y="6648"/>
                  </a:lnTo>
                  <a:lnTo>
                    <a:pt x="193091" y="6750"/>
                  </a:lnTo>
                  <a:lnTo>
                    <a:pt x="192375" y="6955"/>
                  </a:lnTo>
                  <a:lnTo>
                    <a:pt x="193193" y="6955"/>
                  </a:lnTo>
                  <a:lnTo>
                    <a:pt x="190432" y="7773"/>
                  </a:lnTo>
                  <a:lnTo>
                    <a:pt x="191966" y="6648"/>
                  </a:lnTo>
                  <a:lnTo>
                    <a:pt x="191966" y="6443"/>
                  </a:lnTo>
                  <a:lnTo>
                    <a:pt x="193193" y="5830"/>
                  </a:lnTo>
                  <a:lnTo>
                    <a:pt x="192068" y="5216"/>
                  </a:lnTo>
                  <a:lnTo>
                    <a:pt x="192068" y="5216"/>
                  </a:lnTo>
                  <a:lnTo>
                    <a:pt x="192989" y="5523"/>
                  </a:lnTo>
                  <a:lnTo>
                    <a:pt x="191966" y="4909"/>
                  </a:lnTo>
                  <a:lnTo>
                    <a:pt x="191966" y="5114"/>
                  </a:lnTo>
                  <a:lnTo>
                    <a:pt x="188489" y="4602"/>
                  </a:lnTo>
                  <a:lnTo>
                    <a:pt x="188489" y="4602"/>
                  </a:lnTo>
                  <a:lnTo>
                    <a:pt x="188591" y="4705"/>
                  </a:lnTo>
                  <a:lnTo>
                    <a:pt x="187670" y="4705"/>
                  </a:lnTo>
                  <a:lnTo>
                    <a:pt x="187977" y="4398"/>
                  </a:lnTo>
                  <a:lnTo>
                    <a:pt x="185830" y="4295"/>
                  </a:lnTo>
                  <a:lnTo>
                    <a:pt x="186648" y="4091"/>
                  </a:lnTo>
                  <a:lnTo>
                    <a:pt x="185114" y="3784"/>
                  </a:lnTo>
                  <a:close/>
                  <a:moveTo>
                    <a:pt x="252818" y="91125"/>
                  </a:moveTo>
                  <a:lnTo>
                    <a:pt x="252307" y="92455"/>
                  </a:lnTo>
                  <a:lnTo>
                    <a:pt x="252205" y="92352"/>
                  </a:lnTo>
                  <a:lnTo>
                    <a:pt x="252000" y="92966"/>
                  </a:lnTo>
                  <a:lnTo>
                    <a:pt x="252102" y="93170"/>
                  </a:lnTo>
                  <a:lnTo>
                    <a:pt x="250364" y="97875"/>
                  </a:lnTo>
                  <a:lnTo>
                    <a:pt x="249341" y="98080"/>
                  </a:lnTo>
                  <a:lnTo>
                    <a:pt x="246375" y="95727"/>
                  </a:lnTo>
                  <a:lnTo>
                    <a:pt x="246170" y="95011"/>
                  </a:lnTo>
                  <a:lnTo>
                    <a:pt x="246886" y="93580"/>
                  </a:lnTo>
                  <a:lnTo>
                    <a:pt x="247091" y="93682"/>
                  </a:lnTo>
                  <a:lnTo>
                    <a:pt x="247705" y="92761"/>
                  </a:lnTo>
                  <a:lnTo>
                    <a:pt x="247193" y="92455"/>
                  </a:lnTo>
                  <a:lnTo>
                    <a:pt x="247091" y="92864"/>
                  </a:lnTo>
                  <a:lnTo>
                    <a:pt x="246784" y="92352"/>
                  </a:lnTo>
                  <a:lnTo>
                    <a:pt x="246886" y="92148"/>
                  </a:lnTo>
                  <a:lnTo>
                    <a:pt x="246886" y="92148"/>
                  </a:lnTo>
                  <a:lnTo>
                    <a:pt x="246170" y="92557"/>
                  </a:lnTo>
                  <a:lnTo>
                    <a:pt x="244227" y="91841"/>
                  </a:lnTo>
                  <a:lnTo>
                    <a:pt x="244023" y="91841"/>
                  </a:lnTo>
                  <a:lnTo>
                    <a:pt x="243716" y="91534"/>
                  </a:lnTo>
                  <a:lnTo>
                    <a:pt x="243307" y="91534"/>
                  </a:lnTo>
                  <a:lnTo>
                    <a:pt x="243818" y="91841"/>
                  </a:lnTo>
                  <a:lnTo>
                    <a:pt x="243920" y="92455"/>
                  </a:lnTo>
                  <a:lnTo>
                    <a:pt x="243614" y="92659"/>
                  </a:lnTo>
                  <a:lnTo>
                    <a:pt x="242591" y="92455"/>
                  </a:lnTo>
                  <a:lnTo>
                    <a:pt x="242182" y="92966"/>
                  </a:lnTo>
                  <a:lnTo>
                    <a:pt x="241977" y="92864"/>
                  </a:lnTo>
                  <a:lnTo>
                    <a:pt x="241977" y="93068"/>
                  </a:lnTo>
                  <a:lnTo>
                    <a:pt x="241773" y="93068"/>
                  </a:lnTo>
                  <a:lnTo>
                    <a:pt x="241466" y="93375"/>
                  </a:lnTo>
                  <a:lnTo>
                    <a:pt x="241466" y="93784"/>
                  </a:lnTo>
                  <a:lnTo>
                    <a:pt x="241159" y="93989"/>
                  </a:lnTo>
                  <a:lnTo>
                    <a:pt x="240852" y="95011"/>
                  </a:lnTo>
                  <a:lnTo>
                    <a:pt x="240955" y="95318"/>
                  </a:lnTo>
                  <a:lnTo>
                    <a:pt x="240750" y="95625"/>
                  </a:lnTo>
                  <a:lnTo>
                    <a:pt x="239420" y="95727"/>
                  </a:lnTo>
                  <a:lnTo>
                    <a:pt x="239318" y="95727"/>
                  </a:lnTo>
                  <a:lnTo>
                    <a:pt x="239318" y="95011"/>
                  </a:lnTo>
                  <a:lnTo>
                    <a:pt x="238500" y="94193"/>
                  </a:lnTo>
                  <a:lnTo>
                    <a:pt x="238295" y="94500"/>
                  </a:lnTo>
                  <a:lnTo>
                    <a:pt x="237784" y="94602"/>
                  </a:lnTo>
                  <a:lnTo>
                    <a:pt x="237375" y="95114"/>
                  </a:lnTo>
                  <a:lnTo>
                    <a:pt x="237273" y="95011"/>
                  </a:lnTo>
                  <a:lnTo>
                    <a:pt x="237273" y="94705"/>
                  </a:lnTo>
                  <a:lnTo>
                    <a:pt x="236557" y="95932"/>
                  </a:lnTo>
                  <a:lnTo>
                    <a:pt x="236250" y="95727"/>
                  </a:lnTo>
                  <a:lnTo>
                    <a:pt x="235943" y="96443"/>
                  </a:lnTo>
                  <a:lnTo>
                    <a:pt x="236148" y="96341"/>
                  </a:lnTo>
                  <a:lnTo>
                    <a:pt x="236045" y="96545"/>
                  </a:lnTo>
                  <a:lnTo>
                    <a:pt x="235841" y="96648"/>
                  </a:lnTo>
                  <a:lnTo>
                    <a:pt x="236148" y="96955"/>
                  </a:lnTo>
                  <a:lnTo>
                    <a:pt x="235023" y="97057"/>
                  </a:lnTo>
                  <a:lnTo>
                    <a:pt x="235125" y="97670"/>
                  </a:lnTo>
                  <a:lnTo>
                    <a:pt x="234818" y="98080"/>
                  </a:lnTo>
                  <a:lnTo>
                    <a:pt x="234614" y="97364"/>
                  </a:lnTo>
                  <a:lnTo>
                    <a:pt x="234307" y="97159"/>
                  </a:lnTo>
                  <a:lnTo>
                    <a:pt x="233795" y="97568"/>
                  </a:lnTo>
                  <a:lnTo>
                    <a:pt x="233489" y="98795"/>
                  </a:lnTo>
                  <a:lnTo>
                    <a:pt x="225511" y="103193"/>
                  </a:lnTo>
                  <a:lnTo>
                    <a:pt x="225614" y="102477"/>
                  </a:lnTo>
                  <a:lnTo>
                    <a:pt x="224591" y="105034"/>
                  </a:lnTo>
                  <a:lnTo>
                    <a:pt x="224795" y="106466"/>
                  </a:lnTo>
                  <a:lnTo>
                    <a:pt x="224386" y="106977"/>
                  </a:lnTo>
                  <a:lnTo>
                    <a:pt x="224386" y="107386"/>
                  </a:lnTo>
                  <a:lnTo>
                    <a:pt x="224080" y="106875"/>
                  </a:lnTo>
                  <a:lnTo>
                    <a:pt x="223977" y="106977"/>
                  </a:lnTo>
                  <a:lnTo>
                    <a:pt x="223875" y="106977"/>
                  </a:lnTo>
                  <a:lnTo>
                    <a:pt x="224284" y="113318"/>
                  </a:lnTo>
                  <a:lnTo>
                    <a:pt x="222955" y="115261"/>
                  </a:lnTo>
                  <a:lnTo>
                    <a:pt x="223159" y="115364"/>
                  </a:lnTo>
                  <a:lnTo>
                    <a:pt x="223568" y="115773"/>
                  </a:lnTo>
                  <a:lnTo>
                    <a:pt x="228989" y="114852"/>
                  </a:lnTo>
                  <a:lnTo>
                    <a:pt x="229193" y="114955"/>
                  </a:lnTo>
                  <a:lnTo>
                    <a:pt x="237068" y="112500"/>
                  </a:lnTo>
                  <a:lnTo>
                    <a:pt x="239932" y="113216"/>
                  </a:lnTo>
                  <a:lnTo>
                    <a:pt x="240136" y="113523"/>
                  </a:lnTo>
                  <a:lnTo>
                    <a:pt x="240034" y="113727"/>
                  </a:lnTo>
                  <a:lnTo>
                    <a:pt x="240341" y="115364"/>
                  </a:lnTo>
                  <a:lnTo>
                    <a:pt x="240034" y="115568"/>
                  </a:lnTo>
                  <a:lnTo>
                    <a:pt x="240341" y="115977"/>
                  </a:lnTo>
                  <a:lnTo>
                    <a:pt x="240648" y="115977"/>
                  </a:lnTo>
                  <a:lnTo>
                    <a:pt x="240648" y="115670"/>
                  </a:lnTo>
                  <a:lnTo>
                    <a:pt x="243205" y="113523"/>
                  </a:lnTo>
                  <a:lnTo>
                    <a:pt x="241261" y="116284"/>
                  </a:lnTo>
                  <a:lnTo>
                    <a:pt x="242795" y="115159"/>
                  </a:lnTo>
                  <a:lnTo>
                    <a:pt x="242795" y="115977"/>
                  </a:lnTo>
                  <a:lnTo>
                    <a:pt x="242182" y="116693"/>
                  </a:lnTo>
                  <a:lnTo>
                    <a:pt x="242182" y="116693"/>
                  </a:lnTo>
                  <a:lnTo>
                    <a:pt x="242898" y="116489"/>
                  </a:lnTo>
                  <a:lnTo>
                    <a:pt x="243000" y="116591"/>
                  </a:lnTo>
                  <a:lnTo>
                    <a:pt x="243102" y="116591"/>
                  </a:lnTo>
                  <a:lnTo>
                    <a:pt x="243102" y="116693"/>
                  </a:lnTo>
                  <a:lnTo>
                    <a:pt x="243000" y="116591"/>
                  </a:lnTo>
                  <a:lnTo>
                    <a:pt x="242898" y="116591"/>
                  </a:lnTo>
                  <a:lnTo>
                    <a:pt x="243000" y="119148"/>
                  </a:lnTo>
                  <a:lnTo>
                    <a:pt x="244739" y="119864"/>
                  </a:lnTo>
                  <a:lnTo>
                    <a:pt x="246273" y="119352"/>
                  </a:lnTo>
                  <a:lnTo>
                    <a:pt x="246170" y="119352"/>
                  </a:lnTo>
                  <a:lnTo>
                    <a:pt x="246784" y="119148"/>
                  </a:lnTo>
                  <a:lnTo>
                    <a:pt x="246784" y="119148"/>
                  </a:lnTo>
                  <a:lnTo>
                    <a:pt x="246273" y="119557"/>
                  </a:lnTo>
                  <a:lnTo>
                    <a:pt x="246989" y="119557"/>
                  </a:lnTo>
                  <a:lnTo>
                    <a:pt x="246784" y="119761"/>
                  </a:lnTo>
                  <a:lnTo>
                    <a:pt x="247193" y="120375"/>
                  </a:lnTo>
                  <a:lnTo>
                    <a:pt x="247500" y="120068"/>
                  </a:lnTo>
                  <a:lnTo>
                    <a:pt x="247295" y="120068"/>
                  </a:lnTo>
                  <a:lnTo>
                    <a:pt x="254148" y="115057"/>
                  </a:lnTo>
                  <a:lnTo>
                    <a:pt x="254045" y="114955"/>
                  </a:lnTo>
                  <a:lnTo>
                    <a:pt x="258648" y="109432"/>
                  </a:lnTo>
                  <a:lnTo>
                    <a:pt x="259261" y="106773"/>
                  </a:lnTo>
                  <a:lnTo>
                    <a:pt x="258648" y="104932"/>
                  </a:lnTo>
                  <a:lnTo>
                    <a:pt x="258034" y="104420"/>
                  </a:lnTo>
                  <a:lnTo>
                    <a:pt x="257932" y="103193"/>
                  </a:lnTo>
                  <a:lnTo>
                    <a:pt x="257318" y="103193"/>
                  </a:lnTo>
                  <a:lnTo>
                    <a:pt x="257318" y="103091"/>
                  </a:lnTo>
                  <a:lnTo>
                    <a:pt x="257114" y="103091"/>
                  </a:lnTo>
                  <a:lnTo>
                    <a:pt x="256909" y="101148"/>
                  </a:lnTo>
                  <a:lnTo>
                    <a:pt x="254966" y="99614"/>
                  </a:lnTo>
                  <a:lnTo>
                    <a:pt x="254761" y="95318"/>
                  </a:lnTo>
                  <a:lnTo>
                    <a:pt x="254250" y="94807"/>
                  </a:lnTo>
                  <a:lnTo>
                    <a:pt x="253739" y="94909"/>
                  </a:lnTo>
                  <a:lnTo>
                    <a:pt x="252920" y="91227"/>
                  </a:lnTo>
                  <a:lnTo>
                    <a:pt x="252818" y="91125"/>
                  </a:lnTo>
                  <a:close/>
                  <a:moveTo>
                    <a:pt x="272352" y="115466"/>
                  </a:moveTo>
                  <a:lnTo>
                    <a:pt x="272352" y="116591"/>
                  </a:lnTo>
                  <a:lnTo>
                    <a:pt x="272659" y="116386"/>
                  </a:lnTo>
                  <a:lnTo>
                    <a:pt x="272352" y="116693"/>
                  </a:lnTo>
                  <a:lnTo>
                    <a:pt x="272352" y="117511"/>
                  </a:lnTo>
                  <a:lnTo>
                    <a:pt x="272557" y="117000"/>
                  </a:lnTo>
                  <a:lnTo>
                    <a:pt x="272557" y="117307"/>
                  </a:lnTo>
                  <a:lnTo>
                    <a:pt x="272659" y="117205"/>
                  </a:lnTo>
                  <a:lnTo>
                    <a:pt x="272455" y="117716"/>
                  </a:lnTo>
                  <a:lnTo>
                    <a:pt x="272352" y="117614"/>
                  </a:lnTo>
                  <a:lnTo>
                    <a:pt x="272352" y="118125"/>
                  </a:lnTo>
                  <a:lnTo>
                    <a:pt x="272659" y="118227"/>
                  </a:lnTo>
                  <a:lnTo>
                    <a:pt x="272352" y="118330"/>
                  </a:lnTo>
                  <a:lnTo>
                    <a:pt x="272352" y="118227"/>
                  </a:lnTo>
                  <a:lnTo>
                    <a:pt x="270920" y="120170"/>
                  </a:lnTo>
                  <a:lnTo>
                    <a:pt x="270205" y="120477"/>
                  </a:lnTo>
                  <a:lnTo>
                    <a:pt x="270716" y="121398"/>
                  </a:lnTo>
                  <a:lnTo>
                    <a:pt x="269386" y="122523"/>
                  </a:lnTo>
                  <a:lnTo>
                    <a:pt x="269591" y="122420"/>
                  </a:lnTo>
                  <a:lnTo>
                    <a:pt x="269489" y="122625"/>
                  </a:lnTo>
                  <a:lnTo>
                    <a:pt x="270102" y="122625"/>
                  </a:lnTo>
                  <a:lnTo>
                    <a:pt x="275216" y="118739"/>
                  </a:lnTo>
                  <a:lnTo>
                    <a:pt x="274091" y="119148"/>
                  </a:lnTo>
                  <a:lnTo>
                    <a:pt x="273273" y="118739"/>
                  </a:lnTo>
                  <a:lnTo>
                    <a:pt x="273580" y="117818"/>
                  </a:lnTo>
                  <a:lnTo>
                    <a:pt x="273477" y="117818"/>
                  </a:lnTo>
                  <a:lnTo>
                    <a:pt x="273477" y="117614"/>
                  </a:lnTo>
                  <a:lnTo>
                    <a:pt x="273170" y="118330"/>
                  </a:lnTo>
                  <a:lnTo>
                    <a:pt x="272659" y="117920"/>
                  </a:lnTo>
                  <a:lnTo>
                    <a:pt x="273273" y="116284"/>
                  </a:lnTo>
                  <a:lnTo>
                    <a:pt x="273068" y="116386"/>
                  </a:lnTo>
                  <a:lnTo>
                    <a:pt x="272761" y="115875"/>
                  </a:lnTo>
                  <a:lnTo>
                    <a:pt x="272557" y="115977"/>
                  </a:lnTo>
                  <a:lnTo>
                    <a:pt x="272557" y="115977"/>
                  </a:lnTo>
                  <a:lnTo>
                    <a:pt x="272659" y="115466"/>
                  </a:lnTo>
                  <a:close/>
                  <a:moveTo>
                    <a:pt x="246959" y="123166"/>
                  </a:moveTo>
                  <a:lnTo>
                    <a:pt x="246901" y="123224"/>
                  </a:lnTo>
                  <a:lnTo>
                    <a:pt x="246901" y="123224"/>
                  </a:lnTo>
                  <a:lnTo>
                    <a:pt x="246959" y="123166"/>
                  </a:lnTo>
                  <a:close/>
                  <a:moveTo>
                    <a:pt x="246901" y="123224"/>
                  </a:moveTo>
                  <a:lnTo>
                    <a:pt x="246886" y="123239"/>
                  </a:lnTo>
                  <a:lnTo>
                    <a:pt x="246784" y="123443"/>
                  </a:lnTo>
                  <a:lnTo>
                    <a:pt x="246784" y="123443"/>
                  </a:lnTo>
                  <a:lnTo>
                    <a:pt x="246901" y="123224"/>
                  </a:lnTo>
                  <a:close/>
                  <a:moveTo>
                    <a:pt x="244841" y="121807"/>
                  </a:moveTo>
                  <a:lnTo>
                    <a:pt x="244330" y="123341"/>
                  </a:lnTo>
                  <a:lnTo>
                    <a:pt x="244432" y="123341"/>
                  </a:lnTo>
                  <a:lnTo>
                    <a:pt x="244330" y="123648"/>
                  </a:lnTo>
                  <a:lnTo>
                    <a:pt x="244227" y="123443"/>
                  </a:lnTo>
                  <a:lnTo>
                    <a:pt x="244330" y="124466"/>
                  </a:lnTo>
                  <a:lnTo>
                    <a:pt x="244023" y="124670"/>
                  </a:lnTo>
                  <a:lnTo>
                    <a:pt x="244739" y="124670"/>
                  </a:lnTo>
                  <a:lnTo>
                    <a:pt x="245659" y="123955"/>
                  </a:lnTo>
                  <a:lnTo>
                    <a:pt x="245557" y="124159"/>
                  </a:lnTo>
                  <a:lnTo>
                    <a:pt x="245557" y="124159"/>
                  </a:lnTo>
                  <a:lnTo>
                    <a:pt x="245966" y="124057"/>
                  </a:lnTo>
                  <a:lnTo>
                    <a:pt x="245761" y="124364"/>
                  </a:lnTo>
                  <a:lnTo>
                    <a:pt x="246901" y="123224"/>
                  </a:lnTo>
                  <a:lnTo>
                    <a:pt x="247602" y="121909"/>
                  </a:lnTo>
                  <a:lnTo>
                    <a:pt x="246375" y="122318"/>
                  </a:lnTo>
                  <a:lnTo>
                    <a:pt x="244841" y="121807"/>
                  </a:lnTo>
                  <a:close/>
                  <a:moveTo>
                    <a:pt x="265623" y="124957"/>
                  </a:moveTo>
                  <a:lnTo>
                    <a:pt x="265500" y="124977"/>
                  </a:lnTo>
                  <a:lnTo>
                    <a:pt x="265705" y="124977"/>
                  </a:lnTo>
                  <a:lnTo>
                    <a:pt x="265623" y="124957"/>
                  </a:lnTo>
                  <a:close/>
                  <a:moveTo>
                    <a:pt x="268568" y="121705"/>
                  </a:moveTo>
                  <a:lnTo>
                    <a:pt x="265091" y="124057"/>
                  </a:lnTo>
                  <a:lnTo>
                    <a:pt x="265193" y="123852"/>
                  </a:lnTo>
                  <a:lnTo>
                    <a:pt x="265193" y="123852"/>
                  </a:lnTo>
                  <a:lnTo>
                    <a:pt x="264784" y="124159"/>
                  </a:lnTo>
                  <a:lnTo>
                    <a:pt x="264580" y="124261"/>
                  </a:lnTo>
                  <a:lnTo>
                    <a:pt x="264375" y="124261"/>
                  </a:lnTo>
                  <a:lnTo>
                    <a:pt x="264375" y="124364"/>
                  </a:lnTo>
                  <a:lnTo>
                    <a:pt x="260489" y="126102"/>
                  </a:lnTo>
                  <a:lnTo>
                    <a:pt x="260489" y="126102"/>
                  </a:lnTo>
                  <a:lnTo>
                    <a:pt x="260591" y="126000"/>
                  </a:lnTo>
                  <a:lnTo>
                    <a:pt x="259466" y="126818"/>
                  </a:lnTo>
                  <a:lnTo>
                    <a:pt x="259670" y="126818"/>
                  </a:lnTo>
                  <a:lnTo>
                    <a:pt x="259364" y="126920"/>
                  </a:lnTo>
                  <a:lnTo>
                    <a:pt x="259568" y="126920"/>
                  </a:lnTo>
                  <a:lnTo>
                    <a:pt x="259063" y="127173"/>
                  </a:lnTo>
                  <a:lnTo>
                    <a:pt x="259063" y="127173"/>
                  </a:lnTo>
                  <a:lnTo>
                    <a:pt x="259159" y="127125"/>
                  </a:lnTo>
                  <a:lnTo>
                    <a:pt x="258955" y="127330"/>
                  </a:lnTo>
                  <a:lnTo>
                    <a:pt x="259261" y="127227"/>
                  </a:lnTo>
                  <a:lnTo>
                    <a:pt x="258955" y="127432"/>
                  </a:lnTo>
                  <a:lnTo>
                    <a:pt x="259670" y="127636"/>
                  </a:lnTo>
                  <a:lnTo>
                    <a:pt x="259875" y="127841"/>
                  </a:lnTo>
                  <a:lnTo>
                    <a:pt x="265295" y="124875"/>
                  </a:lnTo>
                  <a:lnTo>
                    <a:pt x="265623" y="124957"/>
                  </a:lnTo>
                  <a:lnTo>
                    <a:pt x="265623" y="124957"/>
                  </a:lnTo>
                  <a:lnTo>
                    <a:pt x="266114" y="124875"/>
                  </a:lnTo>
                  <a:lnTo>
                    <a:pt x="266011" y="124670"/>
                  </a:lnTo>
                  <a:lnTo>
                    <a:pt x="265909" y="124670"/>
                  </a:lnTo>
                  <a:lnTo>
                    <a:pt x="269284" y="122318"/>
                  </a:lnTo>
                  <a:lnTo>
                    <a:pt x="268875" y="122420"/>
                  </a:lnTo>
                  <a:lnTo>
                    <a:pt x="268875" y="122420"/>
                  </a:lnTo>
                  <a:lnTo>
                    <a:pt x="269080" y="122318"/>
                  </a:lnTo>
                  <a:lnTo>
                    <a:pt x="269284" y="122216"/>
                  </a:lnTo>
                  <a:lnTo>
                    <a:pt x="269284" y="122216"/>
                  </a:lnTo>
                  <a:lnTo>
                    <a:pt x="268670" y="122420"/>
                  </a:lnTo>
                  <a:lnTo>
                    <a:pt x="269080" y="122114"/>
                  </a:lnTo>
                  <a:lnTo>
                    <a:pt x="268159" y="122420"/>
                  </a:lnTo>
                  <a:lnTo>
                    <a:pt x="268261" y="122011"/>
                  </a:lnTo>
                  <a:lnTo>
                    <a:pt x="268568" y="121705"/>
                  </a:lnTo>
                  <a:close/>
                  <a:moveTo>
                    <a:pt x="76909" y="132648"/>
                  </a:moveTo>
                  <a:lnTo>
                    <a:pt x="77216" y="132852"/>
                  </a:lnTo>
                  <a:lnTo>
                    <a:pt x="77011" y="132955"/>
                  </a:lnTo>
                  <a:lnTo>
                    <a:pt x="77216" y="133057"/>
                  </a:lnTo>
                  <a:lnTo>
                    <a:pt x="76807" y="133261"/>
                  </a:lnTo>
                  <a:lnTo>
                    <a:pt x="77625" y="133057"/>
                  </a:lnTo>
                  <a:lnTo>
                    <a:pt x="77830" y="132750"/>
                  </a:lnTo>
                  <a:lnTo>
                    <a:pt x="76909" y="132648"/>
                  </a:lnTo>
                  <a:close/>
                  <a:moveTo>
                    <a:pt x="78136" y="132545"/>
                  </a:moveTo>
                  <a:lnTo>
                    <a:pt x="78136" y="133261"/>
                  </a:lnTo>
                  <a:lnTo>
                    <a:pt x="78648" y="133364"/>
                  </a:lnTo>
                  <a:lnTo>
                    <a:pt x="78545" y="133159"/>
                  </a:lnTo>
                  <a:lnTo>
                    <a:pt x="78852" y="133057"/>
                  </a:lnTo>
                  <a:lnTo>
                    <a:pt x="78955" y="132852"/>
                  </a:lnTo>
                  <a:lnTo>
                    <a:pt x="79057" y="132750"/>
                  </a:lnTo>
                  <a:lnTo>
                    <a:pt x="78750" y="132852"/>
                  </a:lnTo>
                  <a:lnTo>
                    <a:pt x="78443" y="132648"/>
                  </a:lnTo>
                  <a:lnTo>
                    <a:pt x="78545" y="132648"/>
                  </a:lnTo>
                  <a:lnTo>
                    <a:pt x="78136" y="132545"/>
                  </a:lnTo>
                  <a:close/>
                  <a:moveTo>
                    <a:pt x="78136" y="133261"/>
                  </a:moveTo>
                  <a:lnTo>
                    <a:pt x="78136" y="133568"/>
                  </a:lnTo>
                  <a:lnTo>
                    <a:pt x="78341" y="133364"/>
                  </a:lnTo>
                  <a:lnTo>
                    <a:pt x="78136" y="133261"/>
                  </a:lnTo>
                  <a:close/>
                  <a:moveTo>
                    <a:pt x="68830" y="133875"/>
                  </a:moveTo>
                  <a:lnTo>
                    <a:pt x="67970" y="133970"/>
                  </a:lnTo>
                  <a:lnTo>
                    <a:pt x="67970" y="133970"/>
                  </a:lnTo>
                  <a:lnTo>
                    <a:pt x="68114" y="133875"/>
                  </a:lnTo>
                  <a:close/>
                  <a:moveTo>
                    <a:pt x="63920" y="8386"/>
                  </a:moveTo>
                  <a:lnTo>
                    <a:pt x="62795" y="8795"/>
                  </a:lnTo>
                  <a:lnTo>
                    <a:pt x="63000" y="8795"/>
                  </a:lnTo>
                  <a:lnTo>
                    <a:pt x="62182" y="9000"/>
                  </a:lnTo>
                  <a:lnTo>
                    <a:pt x="61568" y="10330"/>
                  </a:lnTo>
                  <a:lnTo>
                    <a:pt x="62693" y="10534"/>
                  </a:lnTo>
                  <a:lnTo>
                    <a:pt x="62693" y="10636"/>
                  </a:lnTo>
                  <a:lnTo>
                    <a:pt x="62386" y="10739"/>
                  </a:lnTo>
                  <a:lnTo>
                    <a:pt x="62591" y="10636"/>
                  </a:lnTo>
                  <a:lnTo>
                    <a:pt x="61977" y="10841"/>
                  </a:lnTo>
                  <a:lnTo>
                    <a:pt x="62080" y="10841"/>
                  </a:lnTo>
                  <a:lnTo>
                    <a:pt x="61568" y="11148"/>
                  </a:lnTo>
                  <a:lnTo>
                    <a:pt x="62182" y="11250"/>
                  </a:lnTo>
                  <a:lnTo>
                    <a:pt x="60136" y="12068"/>
                  </a:lnTo>
                  <a:lnTo>
                    <a:pt x="59727" y="12784"/>
                  </a:lnTo>
                  <a:lnTo>
                    <a:pt x="59216" y="12784"/>
                  </a:lnTo>
                  <a:lnTo>
                    <a:pt x="59216" y="13091"/>
                  </a:lnTo>
                  <a:lnTo>
                    <a:pt x="59114" y="12682"/>
                  </a:lnTo>
                  <a:lnTo>
                    <a:pt x="59420" y="12682"/>
                  </a:lnTo>
                  <a:lnTo>
                    <a:pt x="59727" y="12477"/>
                  </a:lnTo>
                  <a:lnTo>
                    <a:pt x="59420" y="12477"/>
                  </a:lnTo>
                  <a:lnTo>
                    <a:pt x="60239" y="11557"/>
                  </a:lnTo>
                  <a:lnTo>
                    <a:pt x="59523" y="11761"/>
                  </a:lnTo>
                  <a:lnTo>
                    <a:pt x="59523" y="11761"/>
                  </a:lnTo>
                  <a:lnTo>
                    <a:pt x="59932" y="11557"/>
                  </a:lnTo>
                  <a:lnTo>
                    <a:pt x="59523" y="11557"/>
                  </a:lnTo>
                  <a:lnTo>
                    <a:pt x="59420" y="11352"/>
                  </a:lnTo>
                  <a:lnTo>
                    <a:pt x="58602" y="11455"/>
                  </a:lnTo>
                  <a:lnTo>
                    <a:pt x="58500" y="11864"/>
                  </a:lnTo>
                  <a:lnTo>
                    <a:pt x="59114" y="11966"/>
                  </a:lnTo>
                  <a:lnTo>
                    <a:pt x="58500" y="12068"/>
                  </a:lnTo>
                  <a:lnTo>
                    <a:pt x="58295" y="11761"/>
                  </a:lnTo>
                  <a:lnTo>
                    <a:pt x="58295" y="11966"/>
                  </a:lnTo>
                  <a:lnTo>
                    <a:pt x="54307" y="11557"/>
                  </a:lnTo>
                  <a:lnTo>
                    <a:pt x="53795" y="11045"/>
                  </a:lnTo>
                  <a:lnTo>
                    <a:pt x="51750" y="11557"/>
                  </a:lnTo>
                  <a:lnTo>
                    <a:pt x="54000" y="11250"/>
                  </a:lnTo>
                  <a:lnTo>
                    <a:pt x="54000" y="11250"/>
                  </a:lnTo>
                  <a:lnTo>
                    <a:pt x="52057" y="11966"/>
                  </a:lnTo>
                  <a:lnTo>
                    <a:pt x="51239" y="13193"/>
                  </a:lnTo>
                  <a:lnTo>
                    <a:pt x="50932" y="12068"/>
                  </a:lnTo>
                  <a:lnTo>
                    <a:pt x="50727" y="11966"/>
                  </a:lnTo>
                  <a:lnTo>
                    <a:pt x="50625" y="11864"/>
                  </a:lnTo>
                  <a:lnTo>
                    <a:pt x="46943" y="11864"/>
                  </a:lnTo>
                  <a:lnTo>
                    <a:pt x="48375" y="11455"/>
                  </a:lnTo>
                  <a:lnTo>
                    <a:pt x="42341" y="10636"/>
                  </a:lnTo>
                  <a:lnTo>
                    <a:pt x="42852" y="10330"/>
                  </a:lnTo>
                  <a:lnTo>
                    <a:pt x="43057" y="9920"/>
                  </a:lnTo>
                  <a:lnTo>
                    <a:pt x="42545" y="10023"/>
                  </a:lnTo>
                  <a:lnTo>
                    <a:pt x="42750" y="10125"/>
                  </a:lnTo>
                  <a:lnTo>
                    <a:pt x="41420" y="10636"/>
                  </a:lnTo>
                  <a:lnTo>
                    <a:pt x="41420" y="9920"/>
                  </a:lnTo>
                  <a:lnTo>
                    <a:pt x="40909" y="9716"/>
                  </a:lnTo>
                  <a:lnTo>
                    <a:pt x="40909" y="9716"/>
                  </a:lnTo>
                  <a:lnTo>
                    <a:pt x="41011" y="9818"/>
                  </a:lnTo>
                  <a:lnTo>
                    <a:pt x="41114" y="9818"/>
                  </a:lnTo>
                  <a:lnTo>
                    <a:pt x="39580" y="10330"/>
                  </a:lnTo>
                  <a:lnTo>
                    <a:pt x="39989" y="10125"/>
                  </a:lnTo>
                  <a:lnTo>
                    <a:pt x="37841" y="10739"/>
                  </a:lnTo>
                  <a:lnTo>
                    <a:pt x="38045" y="10534"/>
                  </a:lnTo>
                  <a:lnTo>
                    <a:pt x="37739" y="10636"/>
                  </a:lnTo>
                  <a:lnTo>
                    <a:pt x="37841" y="10636"/>
                  </a:lnTo>
                  <a:lnTo>
                    <a:pt x="36409" y="11045"/>
                  </a:lnTo>
                  <a:lnTo>
                    <a:pt x="36102" y="11045"/>
                  </a:lnTo>
                  <a:lnTo>
                    <a:pt x="35898" y="11148"/>
                  </a:lnTo>
                  <a:lnTo>
                    <a:pt x="35898" y="11045"/>
                  </a:lnTo>
                  <a:lnTo>
                    <a:pt x="36102" y="11045"/>
                  </a:lnTo>
                  <a:lnTo>
                    <a:pt x="39682" y="9920"/>
                  </a:lnTo>
                  <a:lnTo>
                    <a:pt x="37330" y="10330"/>
                  </a:lnTo>
                  <a:lnTo>
                    <a:pt x="37432" y="10330"/>
                  </a:lnTo>
                  <a:lnTo>
                    <a:pt x="35795" y="10739"/>
                  </a:lnTo>
                  <a:lnTo>
                    <a:pt x="36307" y="10534"/>
                  </a:lnTo>
                  <a:lnTo>
                    <a:pt x="34466" y="10841"/>
                  </a:lnTo>
                  <a:lnTo>
                    <a:pt x="34670" y="10943"/>
                  </a:lnTo>
                  <a:lnTo>
                    <a:pt x="34364" y="11045"/>
                  </a:lnTo>
                  <a:lnTo>
                    <a:pt x="34568" y="11148"/>
                  </a:lnTo>
                  <a:lnTo>
                    <a:pt x="25466" y="9716"/>
                  </a:lnTo>
                  <a:lnTo>
                    <a:pt x="25773" y="9614"/>
                  </a:lnTo>
                  <a:lnTo>
                    <a:pt x="25466" y="9614"/>
                  </a:lnTo>
                  <a:lnTo>
                    <a:pt x="25466" y="9511"/>
                  </a:lnTo>
                  <a:lnTo>
                    <a:pt x="25364" y="9511"/>
                  </a:lnTo>
                  <a:lnTo>
                    <a:pt x="25773" y="9409"/>
                  </a:lnTo>
                  <a:lnTo>
                    <a:pt x="24239" y="9307"/>
                  </a:lnTo>
                  <a:lnTo>
                    <a:pt x="24341" y="9205"/>
                  </a:lnTo>
                  <a:lnTo>
                    <a:pt x="23318" y="9409"/>
                  </a:lnTo>
                  <a:lnTo>
                    <a:pt x="23318" y="9307"/>
                  </a:lnTo>
                  <a:lnTo>
                    <a:pt x="24034" y="9102"/>
                  </a:lnTo>
                  <a:lnTo>
                    <a:pt x="23625" y="9000"/>
                  </a:lnTo>
                  <a:lnTo>
                    <a:pt x="23727" y="8898"/>
                  </a:lnTo>
                  <a:lnTo>
                    <a:pt x="23727" y="8898"/>
                  </a:lnTo>
                  <a:lnTo>
                    <a:pt x="21068" y="9409"/>
                  </a:lnTo>
                  <a:lnTo>
                    <a:pt x="21068" y="9409"/>
                  </a:lnTo>
                  <a:lnTo>
                    <a:pt x="21273" y="9307"/>
                  </a:lnTo>
                  <a:lnTo>
                    <a:pt x="20455" y="9511"/>
                  </a:lnTo>
                  <a:lnTo>
                    <a:pt x="20761" y="9614"/>
                  </a:lnTo>
                  <a:lnTo>
                    <a:pt x="20148" y="9818"/>
                  </a:lnTo>
                  <a:lnTo>
                    <a:pt x="20045" y="9818"/>
                  </a:lnTo>
                  <a:lnTo>
                    <a:pt x="20455" y="9614"/>
                  </a:lnTo>
                  <a:lnTo>
                    <a:pt x="18637" y="9901"/>
                  </a:lnTo>
                  <a:lnTo>
                    <a:pt x="18637" y="9901"/>
                  </a:lnTo>
                  <a:lnTo>
                    <a:pt x="13295" y="11455"/>
                  </a:lnTo>
                  <a:lnTo>
                    <a:pt x="13398" y="11455"/>
                  </a:lnTo>
                  <a:lnTo>
                    <a:pt x="13193" y="11557"/>
                  </a:lnTo>
                  <a:lnTo>
                    <a:pt x="14011" y="12273"/>
                  </a:lnTo>
                  <a:lnTo>
                    <a:pt x="13909" y="12682"/>
                  </a:lnTo>
                  <a:lnTo>
                    <a:pt x="14625" y="12580"/>
                  </a:lnTo>
                  <a:lnTo>
                    <a:pt x="14625" y="12580"/>
                  </a:lnTo>
                  <a:lnTo>
                    <a:pt x="14523" y="12682"/>
                  </a:lnTo>
                  <a:lnTo>
                    <a:pt x="14932" y="12682"/>
                  </a:lnTo>
                  <a:lnTo>
                    <a:pt x="14523" y="12989"/>
                  </a:lnTo>
                  <a:lnTo>
                    <a:pt x="15341" y="13091"/>
                  </a:lnTo>
                  <a:lnTo>
                    <a:pt x="14727" y="13193"/>
                  </a:lnTo>
                  <a:lnTo>
                    <a:pt x="14523" y="12989"/>
                  </a:lnTo>
                  <a:lnTo>
                    <a:pt x="14420" y="12886"/>
                  </a:lnTo>
                  <a:lnTo>
                    <a:pt x="14420" y="12784"/>
                  </a:lnTo>
                  <a:lnTo>
                    <a:pt x="14114" y="12989"/>
                  </a:lnTo>
                  <a:lnTo>
                    <a:pt x="14114" y="13295"/>
                  </a:lnTo>
                  <a:lnTo>
                    <a:pt x="14523" y="13295"/>
                  </a:lnTo>
                  <a:lnTo>
                    <a:pt x="14420" y="13398"/>
                  </a:lnTo>
                  <a:lnTo>
                    <a:pt x="12375" y="13398"/>
                  </a:lnTo>
                  <a:lnTo>
                    <a:pt x="12886" y="13091"/>
                  </a:lnTo>
                  <a:lnTo>
                    <a:pt x="11250" y="13398"/>
                  </a:lnTo>
                  <a:lnTo>
                    <a:pt x="11352" y="13398"/>
                  </a:lnTo>
                  <a:lnTo>
                    <a:pt x="9205" y="13909"/>
                  </a:lnTo>
                  <a:lnTo>
                    <a:pt x="9818" y="14216"/>
                  </a:lnTo>
                  <a:lnTo>
                    <a:pt x="9102" y="14318"/>
                  </a:lnTo>
                  <a:lnTo>
                    <a:pt x="9205" y="14523"/>
                  </a:lnTo>
                  <a:lnTo>
                    <a:pt x="9102" y="14932"/>
                  </a:lnTo>
                  <a:lnTo>
                    <a:pt x="11045" y="14932"/>
                  </a:lnTo>
                  <a:lnTo>
                    <a:pt x="11045" y="15034"/>
                  </a:lnTo>
                  <a:lnTo>
                    <a:pt x="12580" y="14625"/>
                  </a:lnTo>
                  <a:lnTo>
                    <a:pt x="12784" y="14830"/>
                  </a:lnTo>
                  <a:lnTo>
                    <a:pt x="12068" y="15034"/>
                  </a:lnTo>
                  <a:lnTo>
                    <a:pt x="11659" y="15648"/>
                  </a:lnTo>
                  <a:lnTo>
                    <a:pt x="10534" y="15852"/>
                  </a:lnTo>
                  <a:lnTo>
                    <a:pt x="8795" y="16261"/>
                  </a:lnTo>
                  <a:lnTo>
                    <a:pt x="8489" y="16159"/>
                  </a:lnTo>
                  <a:lnTo>
                    <a:pt x="7745" y="16624"/>
                  </a:lnTo>
                  <a:lnTo>
                    <a:pt x="7745" y="16624"/>
                  </a:lnTo>
                  <a:lnTo>
                    <a:pt x="5727" y="17489"/>
                  </a:lnTo>
                  <a:lnTo>
                    <a:pt x="5830" y="17489"/>
                  </a:lnTo>
                  <a:lnTo>
                    <a:pt x="5420" y="17693"/>
                  </a:lnTo>
                  <a:lnTo>
                    <a:pt x="5625" y="17693"/>
                  </a:lnTo>
                  <a:lnTo>
                    <a:pt x="5318" y="17898"/>
                  </a:lnTo>
                  <a:lnTo>
                    <a:pt x="5420" y="17898"/>
                  </a:lnTo>
                  <a:lnTo>
                    <a:pt x="5318" y="18102"/>
                  </a:lnTo>
                  <a:lnTo>
                    <a:pt x="5318" y="18102"/>
                  </a:lnTo>
                  <a:lnTo>
                    <a:pt x="5727" y="17898"/>
                  </a:lnTo>
                  <a:lnTo>
                    <a:pt x="5625" y="18000"/>
                  </a:lnTo>
                  <a:lnTo>
                    <a:pt x="5727" y="18000"/>
                  </a:lnTo>
                  <a:lnTo>
                    <a:pt x="5625" y="18102"/>
                  </a:lnTo>
                  <a:lnTo>
                    <a:pt x="5830" y="18102"/>
                  </a:lnTo>
                  <a:lnTo>
                    <a:pt x="5420" y="18205"/>
                  </a:lnTo>
                  <a:lnTo>
                    <a:pt x="6545" y="18307"/>
                  </a:lnTo>
                  <a:lnTo>
                    <a:pt x="6239" y="18307"/>
                  </a:lnTo>
                  <a:lnTo>
                    <a:pt x="6443" y="18409"/>
                  </a:lnTo>
                  <a:lnTo>
                    <a:pt x="6034" y="18614"/>
                  </a:lnTo>
                  <a:lnTo>
                    <a:pt x="6034" y="18614"/>
                  </a:lnTo>
                  <a:lnTo>
                    <a:pt x="6136" y="18409"/>
                  </a:lnTo>
                  <a:lnTo>
                    <a:pt x="5625" y="18511"/>
                  </a:lnTo>
                  <a:lnTo>
                    <a:pt x="5625" y="18307"/>
                  </a:lnTo>
                  <a:lnTo>
                    <a:pt x="4807" y="18614"/>
                  </a:lnTo>
                  <a:lnTo>
                    <a:pt x="5011" y="18614"/>
                  </a:lnTo>
                  <a:lnTo>
                    <a:pt x="5011" y="19227"/>
                  </a:lnTo>
                  <a:lnTo>
                    <a:pt x="7466" y="18511"/>
                  </a:lnTo>
                  <a:lnTo>
                    <a:pt x="7466" y="18511"/>
                  </a:lnTo>
                  <a:lnTo>
                    <a:pt x="5727" y="19943"/>
                  </a:lnTo>
                  <a:lnTo>
                    <a:pt x="5932" y="19943"/>
                  </a:lnTo>
                  <a:lnTo>
                    <a:pt x="5011" y="20352"/>
                  </a:lnTo>
                  <a:lnTo>
                    <a:pt x="6750" y="20045"/>
                  </a:lnTo>
                  <a:lnTo>
                    <a:pt x="7159" y="20352"/>
                  </a:lnTo>
                  <a:lnTo>
                    <a:pt x="8386" y="20045"/>
                  </a:lnTo>
                  <a:lnTo>
                    <a:pt x="8386" y="20045"/>
                  </a:lnTo>
                  <a:lnTo>
                    <a:pt x="7875" y="20352"/>
                  </a:lnTo>
                  <a:lnTo>
                    <a:pt x="7875" y="20352"/>
                  </a:lnTo>
                  <a:lnTo>
                    <a:pt x="9511" y="19943"/>
                  </a:lnTo>
                  <a:lnTo>
                    <a:pt x="8080" y="20761"/>
                  </a:lnTo>
                  <a:lnTo>
                    <a:pt x="8182" y="20864"/>
                  </a:lnTo>
                  <a:lnTo>
                    <a:pt x="5523" y="22193"/>
                  </a:lnTo>
                  <a:lnTo>
                    <a:pt x="5523" y="22091"/>
                  </a:lnTo>
                  <a:lnTo>
                    <a:pt x="3375" y="22909"/>
                  </a:lnTo>
                  <a:lnTo>
                    <a:pt x="3375" y="23114"/>
                  </a:lnTo>
                  <a:lnTo>
                    <a:pt x="3170" y="23011"/>
                  </a:lnTo>
                  <a:lnTo>
                    <a:pt x="2966" y="23114"/>
                  </a:lnTo>
                  <a:lnTo>
                    <a:pt x="2966" y="23114"/>
                  </a:lnTo>
                  <a:lnTo>
                    <a:pt x="3170" y="22909"/>
                  </a:lnTo>
                  <a:lnTo>
                    <a:pt x="2864" y="23011"/>
                  </a:lnTo>
                  <a:lnTo>
                    <a:pt x="2864" y="23011"/>
                  </a:lnTo>
                  <a:lnTo>
                    <a:pt x="2966" y="22909"/>
                  </a:lnTo>
                  <a:lnTo>
                    <a:pt x="1120" y="23634"/>
                  </a:lnTo>
                  <a:lnTo>
                    <a:pt x="1120" y="23634"/>
                  </a:lnTo>
                  <a:lnTo>
                    <a:pt x="1023" y="23830"/>
                  </a:lnTo>
                  <a:lnTo>
                    <a:pt x="2276" y="23472"/>
                  </a:lnTo>
                  <a:lnTo>
                    <a:pt x="2276" y="23472"/>
                  </a:lnTo>
                  <a:lnTo>
                    <a:pt x="3886" y="23114"/>
                  </a:lnTo>
                  <a:lnTo>
                    <a:pt x="3682" y="23318"/>
                  </a:lnTo>
                  <a:lnTo>
                    <a:pt x="5069" y="22823"/>
                  </a:lnTo>
                  <a:lnTo>
                    <a:pt x="5069" y="22823"/>
                  </a:lnTo>
                  <a:lnTo>
                    <a:pt x="5216" y="22602"/>
                  </a:lnTo>
                  <a:lnTo>
                    <a:pt x="5932" y="22398"/>
                  </a:lnTo>
                  <a:lnTo>
                    <a:pt x="5830" y="22398"/>
                  </a:lnTo>
                  <a:lnTo>
                    <a:pt x="10534" y="20761"/>
                  </a:lnTo>
                  <a:lnTo>
                    <a:pt x="10432" y="20761"/>
                  </a:lnTo>
                  <a:lnTo>
                    <a:pt x="11352" y="20352"/>
                  </a:lnTo>
                  <a:lnTo>
                    <a:pt x="11455" y="19943"/>
                  </a:lnTo>
                  <a:lnTo>
                    <a:pt x="12580" y="19330"/>
                  </a:lnTo>
                  <a:lnTo>
                    <a:pt x="12580" y="19432"/>
                  </a:lnTo>
                  <a:lnTo>
                    <a:pt x="12886" y="19330"/>
                  </a:lnTo>
                  <a:lnTo>
                    <a:pt x="12886" y="19227"/>
                  </a:lnTo>
                  <a:lnTo>
                    <a:pt x="17386" y="17693"/>
                  </a:lnTo>
                  <a:lnTo>
                    <a:pt x="16568" y="18102"/>
                  </a:lnTo>
                  <a:lnTo>
                    <a:pt x="16875" y="18205"/>
                  </a:lnTo>
                  <a:lnTo>
                    <a:pt x="16875" y="18307"/>
                  </a:lnTo>
                  <a:lnTo>
                    <a:pt x="14011" y="19125"/>
                  </a:lnTo>
                  <a:lnTo>
                    <a:pt x="14318" y="19330"/>
                  </a:lnTo>
                  <a:lnTo>
                    <a:pt x="13193" y="19841"/>
                  </a:lnTo>
                  <a:lnTo>
                    <a:pt x="15443" y="19227"/>
                  </a:lnTo>
                  <a:lnTo>
                    <a:pt x="15443" y="19227"/>
                  </a:lnTo>
                  <a:lnTo>
                    <a:pt x="15341" y="19330"/>
                  </a:lnTo>
                  <a:lnTo>
                    <a:pt x="15852" y="19023"/>
                  </a:lnTo>
                  <a:lnTo>
                    <a:pt x="15852" y="19125"/>
                  </a:lnTo>
                  <a:lnTo>
                    <a:pt x="17284" y="18614"/>
                  </a:lnTo>
                  <a:lnTo>
                    <a:pt x="16875" y="18614"/>
                  </a:lnTo>
                  <a:lnTo>
                    <a:pt x="17284" y="18409"/>
                  </a:lnTo>
                  <a:lnTo>
                    <a:pt x="17182" y="18409"/>
                  </a:lnTo>
                  <a:lnTo>
                    <a:pt x="17554" y="18186"/>
                  </a:lnTo>
                  <a:lnTo>
                    <a:pt x="17554" y="18186"/>
                  </a:lnTo>
                  <a:lnTo>
                    <a:pt x="18205" y="18000"/>
                  </a:lnTo>
                  <a:lnTo>
                    <a:pt x="18205" y="18000"/>
                  </a:lnTo>
                  <a:lnTo>
                    <a:pt x="17795" y="18307"/>
                  </a:lnTo>
                  <a:lnTo>
                    <a:pt x="19125" y="18102"/>
                  </a:lnTo>
                  <a:lnTo>
                    <a:pt x="18614" y="18409"/>
                  </a:lnTo>
                  <a:lnTo>
                    <a:pt x="18818" y="18409"/>
                  </a:lnTo>
                  <a:lnTo>
                    <a:pt x="18818" y="18511"/>
                  </a:lnTo>
                  <a:lnTo>
                    <a:pt x="19125" y="18511"/>
                  </a:lnTo>
                  <a:lnTo>
                    <a:pt x="18818" y="18716"/>
                  </a:lnTo>
                  <a:lnTo>
                    <a:pt x="19227" y="18716"/>
                  </a:lnTo>
                  <a:lnTo>
                    <a:pt x="19841" y="18511"/>
                  </a:lnTo>
                  <a:lnTo>
                    <a:pt x="19432" y="18920"/>
                  </a:lnTo>
                  <a:lnTo>
                    <a:pt x="19636" y="19125"/>
                  </a:lnTo>
                  <a:lnTo>
                    <a:pt x="21682" y="19023"/>
                  </a:lnTo>
                  <a:lnTo>
                    <a:pt x="21682" y="19023"/>
                  </a:lnTo>
                  <a:lnTo>
                    <a:pt x="21477" y="19227"/>
                  </a:lnTo>
                  <a:lnTo>
                    <a:pt x="23216" y="19227"/>
                  </a:lnTo>
                  <a:lnTo>
                    <a:pt x="22295" y="19534"/>
                  </a:lnTo>
                  <a:lnTo>
                    <a:pt x="22909" y="19943"/>
                  </a:lnTo>
                  <a:lnTo>
                    <a:pt x="22807" y="19943"/>
                  </a:lnTo>
                  <a:lnTo>
                    <a:pt x="23216" y="20659"/>
                  </a:lnTo>
                  <a:lnTo>
                    <a:pt x="23830" y="20659"/>
                  </a:lnTo>
                  <a:lnTo>
                    <a:pt x="23830" y="20455"/>
                  </a:lnTo>
                  <a:lnTo>
                    <a:pt x="24034" y="20352"/>
                  </a:lnTo>
                  <a:lnTo>
                    <a:pt x="23625" y="20148"/>
                  </a:lnTo>
                  <a:lnTo>
                    <a:pt x="24545" y="20045"/>
                  </a:lnTo>
                  <a:lnTo>
                    <a:pt x="24443" y="20148"/>
                  </a:lnTo>
                  <a:lnTo>
                    <a:pt x="24648" y="20148"/>
                  </a:lnTo>
                  <a:lnTo>
                    <a:pt x="24136" y="20659"/>
                  </a:lnTo>
                  <a:lnTo>
                    <a:pt x="24545" y="20761"/>
                  </a:lnTo>
                  <a:lnTo>
                    <a:pt x="25466" y="19636"/>
                  </a:lnTo>
                  <a:lnTo>
                    <a:pt x="24955" y="20557"/>
                  </a:lnTo>
                  <a:lnTo>
                    <a:pt x="25159" y="20761"/>
                  </a:lnTo>
                  <a:lnTo>
                    <a:pt x="25670" y="20557"/>
                  </a:lnTo>
                  <a:lnTo>
                    <a:pt x="25159" y="20966"/>
                  </a:lnTo>
                  <a:lnTo>
                    <a:pt x="25568" y="21170"/>
                  </a:lnTo>
                  <a:lnTo>
                    <a:pt x="24750" y="21784"/>
                  </a:lnTo>
                  <a:lnTo>
                    <a:pt x="25159" y="21886"/>
                  </a:lnTo>
                  <a:lnTo>
                    <a:pt x="25159" y="22193"/>
                  </a:lnTo>
                  <a:lnTo>
                    <a:pt x="25057" y="22295"/>
                  </a:lnTo>
                  <a:lnTo>
                    <a:pt x="25364" y="22705"/>
                  </a:lnTo>
                  <a:lnTo>
                    <a:pt x="24648" y="23114"/>
                  </a:lnTo>
                  <a:lnTo>
                    <a:pt x="24545" y="23420"/>
                  </a:lnTo>
                  <a:lnTo>
                    <a:pt x="25670" y="22807"/>
                  </a:lnTo>
                  <a:lnTo>
                    <a:pt x="24750" y="24136"/>
                  </a:lnTo>
                  <a:lnTo>
                    <a:pt x="26284" y="23011"/>
                  </a:lnTo>
                  <a:lnTo>
                    <a:pt x="26284" y="23011"/>
                  </a:lnTo>
                  <a:lnTo>
                    <a:pt x="25568" y="23830"/>
                  </a:lnTo>
                  <a:lnTo>
                    <a:pt x="25568" y="23830"/>
                  </a:lnTo>
                  <a:lnTo>
                    <a:pt x="26182" y="23318"/>
                  </a:lnTo>
                  <a:lnTo>
                    <a:pt x="26182" y="23495"/>
                  </a:lnTo>
                  <a:lnTo>
                    <a:pt x="26182" y="23495"/>
                  </a:lnTo>
                  <a:lnTo>
                    <a:pt x="24750" y="24545"/>
                  </a:lnTo>
                  <a:lnTo>
                    <a:pt x="25159" y="24648"/>
                  </a:lnTo>
                  <a:lnTo>
                    <a:pt x="24443" y="25364"/>
                  </a:lnTo>
                  <a:lnTo>
                    <a:pt x="24443" y="25568"/>
                  </a:lnTo>
                  <a:lnTo>
                    <a:pt x="25261" y="25261"/>
                  </a:lnTo>
                  <a:lnTo>
                    <a:pt x="25364" y="25159"/>
                  </a:lnTo>
                  <a:lnTo>
                    <a:pt x="25773" y="25057"/>
                  </a:lnTo>
                  <a:lnTo>
                    <a:pt x="25364" y="25261"/>
                  </a:lnTo>
                  <a:lnTo>
                    <a:pt x="25773" y="25568"/>
                  </a:lnTo>
                  <a:lnTo>
                    <a:pt x="25261" y="25261"/>
                  </a:lnTo>
                  <a:lnTo>
                    <a:pt x="24955" y="25466"/>
                  </a:lnTo>
                  <a:lnTo>
                    <a:pt x="25364" y="25977"/>
                  </a:lnTo>
                  <a:lnTo>
                    <a:pt x="24750" y="26489"/>
                  </a:lnTo>
                  <a:lnTo>
                    <a:pt x="24750" y="26489"/>
                  </a:lnTo>
                  <a:lnTo>
                    <a:pt x="25159" y="26284"/>
                  </a:lnTo>
                  <a:lnTo>
                    <a:pt x="24545" y="26693"/>
                  </a:lnTo>
                  <a:lnTo>
                    <a:pt x="24443" y="27000"/>
                  </a:lnTo>
                  <a:lnTo>
                    <a:pt x="26080" y="25977"/>
                  </a:lnTo>
                  <a:lnTo>
                    <a:pt x="25670" y="26386"/>
                  </a:lnTo>
                  <a:lnTo>
                    <a:pt x="25773" y="26795"/>
                  </a:lnTo>
                  <a:lnTo>
                    <a:pt x="25568" y="26489"/>
                  </a:lnTo>
                  <a:lnTo>
                    <a:pt x="24852" y="26795"/>
                  </a:lnTo>
                  <a:lnTo>
                    <a:pt x="24955" y="26795"/>
                  </a:lnTo>
                  <a:lnTo>
                    <a:pt x="24545" y="27307"/>
                  </a:lnTo>
                  <a:lnTo>
                    <a:pt x="25466" y="27102"/>
                  </a:lnTo>
                  <a:lnTo>
                    <a:pt x="24341" y="27614"/>
                  </a:lnTo>
                  <a:lnTo>
                    <a:pt x="25159" y="27818"/>
                  </a:lnTo>
                  <a:lnTo>
                    <a:pt x="25057" y="27920"/>
                  </a:lnTo>
                  <a:lnTo>
                    <a:pt x="25159" y="28023"/>
                  </a:lnTo>
                  <a:lnTo>
                    <a:pt x="24852" y="28125"/>
                  </a:lnTo>
                  <a:lnTo>
                    <a:pt x="25364" y="28125"/>
                  </a:lnTo>
                  <a:lnTo>
                    <a:pt x="24852" y="28227"/>
                  </a:lnTo>
                  <a:lnTo>
                    <a:pt x="25977" y="28227"/>
                  </a:lnTo>
                  <a:lnTo>
                    <a:pt x="26284" y="27920"/>
                  </a:lnTo>
                  <a:lnTo>
                    <a:pt x="25773" y="28841"/>
                  </a:lnTo>
                  <a:lnTo>
                    <a:pt x="26591" y="28636"/>
                  </a:lnTo>
                  <a:lnTo>
                    <a:pt x="26489" y="29148"/>
                  </a:lnTo>
                  <a:lnTo>
                    <a:pt x="26182" y="29352"/>
                  </a:lnTo>
                  <a:lnTo>
                    <a:pt x="26182" y="29352"/>
                  </a:lnTo>
                  <a:lnTo>
                    <a:pt x="26795" y="29148"/>
                  </a:lnTo>
                  <a:lnTo>
                    <a:pt x="26489" y="29455"/>
                  </a:lnTo>
                  <a:lnTo>
                    <a:pt x="26898" y="29455"/>
                  </a:lnTo>
                  <a:lnTo>
                    <a:pt x="26489" y="29659"/>
                  </a:lnTo>
                  <a:lnTo>
                    <a:pt x="26489" y="29864"/>
                  </a:lnTo>
                  <a:lnTo>
                    <a:pt x="26591" y="30068"/>
                  </a:lnTo>
                  <a:lnTo>
                    <a:pt x="26693" y="30068"/>
                  </a:lnTo>
                  <a:lnTo>
                    <a:pt x="26386" y="30375"/>
                  </a:lnTo>
                  <a:lnTo>
                    <a:pt x="26386" y="30682"/>
                  </a:lnTo>
                  <a:lnTo>
                    <a:pt x="26489" y="30682"/>
                  </a:lnTo>
                  <a:lnTo>
                    <a:pt x="26386" y="30784"/>
                  </a:lnTo>
                  <a:lnTo>
                    <a:pt x="26386" y="30682"/>
                  </a:lnTo>
                  <a:lnTo>
                    <a:pt x="26080" y="31295"/>
                  </a:lnTo>
                  <a:lnTo>
                    <a:pt x="25670" y="31500"/>
                  </a:lnTo>
                  <a:lnTo>
                    <a:pt x="25568" y="31602"/>
                  </a:lnTo>
                  <a:lnTo>
                    <a:pt x="25568" y="31500"/>
                  </a:lnTo>
                  <a:lnTo>
                    <a:pt x="25670" y="31500"/>
                  </a:lnTo>
                  <a:lnTo>
                    <a:pt x="26182" y="30886"/>
                  </a:lnTo>
                  <a:lnTo>
                    <a:pt x="26182" y="30886"/>
                  </a:lnTo>
                  <a:lnTo>
                    <a:pt x="25466" y="31398"/>
                  </a:lnTo>
                  <a:lnTo>
                    <a:pt x="25875" y="30989"/>
                  </a:lnTo>
                  <a:lnTo>
                    <a:pt x="25875" y="31091"/>
                  </a:lnTo>
                  <a:lnTo>
                    <a:pt x="26182" y="30682"/>
                  </a:lnTo>
                  <a:lnTo>
                    <a:pt x="24852" y="30477"/>
                  </a:lnTo>
                  <a:lnTo>
                    <a:pt x="24341" y="31909"/>
                  </a:lnTo>
                  <a:lnTo>
                    <a:pt x="24545" y="31909"/>
                  </a:lnTo>
                  <a:lnTo>
                    <a:pt x="24136" y="32420"/>
                  </a:lnTo>
                  <a:lnTo>
                    <a:pt x="24136" y="32216"/>
                  </a:lnTo>
                  <a:lnTo>
                    <a:pt x="23932" y="32523"/>
                  </a:lnTo>
                  <a:lnTo>
                    <a:pt x="24545" y="32727"/>
                  </a:lnTo>
                  <a:lnTo>
                    <a:pt x="24034" y="32625"/>
                  </a:lnTo>
                  <a:lnTo>
                    <a:pt x="21989" y="35489"/>
                  </a:lnTo>
                  <a:lnTo>
                    <a:pt x="22091" y="35489"/>
                  </a:lnTo>
                  <a:lnTo>
                    <a:pt x="20557" y="38250"/>
                  </a:lnTo>
                  <a:lnTo>
                    <a:pt x="20557" y="38148"/>
                  </a:lnTo>
                  <a:lnTo>
                    <a:pt x="20250" y="38659"/>
                  </a:lnTo>
                  <a:lnTo>
                    <a:pt x="20348" y="40709"/>
                  </a:lnTo>
                  <a:lnTo>
                    <a:pt x="20348" y="40709"/>
                  </a:lnTo>
                  <a:lnTo>
                    <a:pt x="20148" y="40909"/>
                  </a:lnTo>
                  <a:lnTo>
                    <a:pt x="20455" y="41011"/>
                  </a:lnTo>
                  <a:lnTo>
                    <a:pt x="20761" y="40807"/>
                  </a:lnTo>
                  <a:lnTo>
                    <a:pt x="21477" y="40807"/>
                  </a:lnTo>
                  <a:lnTo>
                    <a:pt x="20761" y="40909"/>
                  </a:lnTo>
                  <a:lnTo>
                    <a:pt x="20761" y="41420"/>
                  </a:lnTo>
                  <a:lnTo>
                    <a:pt x="20557" y="41114"/>
                  </a:lnTo>
                  <a:lnTo>
                    <a:pt x="20352" y="41727"/>
                  </a:lnTo>
                  <a:lnTo>
                    <a:pt x="20557" y="42341"/>
                  </a:lnTo>
                  <a:lnTo>
                    <a:pt x="20352" y="42648"/>
                  </a:lnTo>
                  <a:lnTo>
                    <a:pt x="20864" y="43875"/>
                  </a:lnTo>
                  <a:lnTo>
                    <a:pt x="20761" y="44284"/>
                  </a:lnTo>
                  <a:lnTo>
                    <a:pt x="21068" y="44591"/>
                  </a:lnTo>
                  <a:lnTo>
                    <a:pt x="21477" y="44693"/>
                  </a:lnTo>
                  <a:lnTo>
                    <a:pt x="23011" y="47250"/>
                  </a:lnTo>
                  <a:lnTo>
                    <a:pt x="22909" y="47455"/>
                  </a:lnTo>
                  <a:lnTo>
                    <a:pt x="23216" y="49295"/>
                  </a:lnTo>
                  <a:lnTo>
                    <a:pt x="23932" y="50114"/>
                  </a:lnTo>
                  <a:lnTo>
                    <a:pt x="23932" y="51341"/>
                  </a:lnTo>
                  <a:lnTo>
                    <a:pt x="24034" y="51341"/>
                  </a:lnTo>
                  <a:lnTo>
                    <a:pt x="24034" y="51545"/>
                  </a:lnTo>
                  <a:lnTo>
                    <a:pt x="23830" y="51341"/>
                  </a:lnTo>
                  <a:lnTo>
                    <a:pt x="23216" y="51443"/>
                  </a:lnTo>
                  <a:lnTo>
                    <a:pt x="23830" y="52159"/>
                  </a:lnTo>
                  <a:lnTo>
                    <a:pt x="24648" y="52364"/>
                  </a:lnTo>
                  <a:lnTo>
                    <a:pt x="25261" y="54818"/>
                  </a:lnTo>
                  <a:lnTo>
                    <a:pt x="26795" y="56455"/>
                  </a:lnTo>
                  <a:lnTo>
                    <a:pt x="26898" y="55432"/>
                  </a:lnTo>
                  <a:lnTo>
                    <a:pt x="26386" y="55227"/>
                  </a:lnTo>
                  <a:lnTo>
                    <a:pt x="25773" y="52364"/>
                  </a:lnTo>
                  <a:lnTo>
                    <a:pt x="25773" y="52670"/>
                  </a:lnTo>
                  <a:lnTo>
                    <a:pt x="25261" y="50830"/>
                  </a:lnTo>
                  <a:lnTo>
                    <a:pt x="25057" y="50727"/>
                  </a:lnTo>
                  <a:lnTo>
                    <a:pt x="24341" y="48068"/>
                  </a:lnTo>
                  <a:lnTo>
                    <a:pt x="24545" y="47250"/>
                  </a:lnTo>
                  <a:lnTo>
                    <a:pt x="25159" y="47659"/>
                  </a:lnTo>
                  <a:lnTo>
                    <a:pt x="25364" y="47557"/>
                  </a:lnTo>
                  <a:lnTo>
                    <a:pt x="25466" y="47761"/>
                  </a:lnTo>
                  <a:lnTo>
                    <a:pt x="25875" y="47966"/>
                  </a:lnTo>
                  <a:lnTo>
                    <a:pt x="26591" y="51034"/>
                  </a:lnTo>
                  <a:lnTo>
                    <a:pt x="27205" y="51341"/>
                  </a:lnTo>
                  <a:lnTo>
                    <a:pt x="27000" y="51852"/>
                  </a:lnTo>
                  <a:lnTo>
                    <a:pt x="28023" y="53080"/>
                  </a:lnTo>
                  <a:lnTo>
                    <a:pt x="27920" y="52977"/>
                  </a:lnTo>
                  <a:lnTo>
                    <a:pt x="28125" y="53591"/>
                  </a:lnTo>
                  <a:lnTo>
                    <a:pt x="27920" y="53795"/>
                  </a:lnTo>
                  <a:lnTo>
                    <a:pt x="28636" y="54307"/>
                  </a:lnTo>
                  <a:lnTo>
                    <a:pt x="28432" y="54205"/>
                  </a:lnTo>
                  <a:lnTo>
                    <a:pt x="29045" y="54920"/>
                  </a:lnTo>
                  <a:lnTo>
                    <a:pt x="28841" y="54920"/>
                  </a:lnTo>
                  <a:lnTo>
                    <a:pt x="29761" y="56148"/>
                  </a:lnTo>
                  <a:lnTo>
                    <a:pt x="30477" y="58091"/>
                  </a:lnTo>
                  <a:lnTo>
                    <a:pt x="29966" y="59216"/>
                  </a:lnTo>
                  <a:lnTo>
                    <a:pt x="37534" y="63920"/>
                  </a:lnTo>
                  <a:lnTo>
                    <a:pt x="39068" y="63307"/>
                  </a:lnTo>
                  <a:lnTo>
                    <a:pt x="39170" y="63307"/>
                  </a:lnTo>
                  <a:lnTo>
                    <a:pt x="39784" y="63614"/>
                  </a:lnTo>
                  <a:lnTo>
                    <a:pt x="39784" y="63614"/>
                  </a:lnTo>
                  <a:lnTo>
                    <a:pt x="39375" y="63307"/>
                  </a:lnTo>
                  <a:lnTo>
                    <a:pt x="39375" y="63307"/>
                  </a:lnTo>
                  <a:lnTo>
                    <a:pt x="44284" y="66375"/>
                  </a:lnTo>
                  <a:lnTo>
                    <a:pt x="45000" y="66273"/>
                  </a:lnTo>
                  <a:lnTo>
                    <a:pt x="45409" y="66682"/>
                  </a:lnTo>
                  <a:lnTo>
                    <a:pt x="45307" y="66989"/>
                  </a:lnTo>
                  <a:lnTo>
                    <a:pt x="46534" y="68830"/>
                  </a:lnTo>
                  <a:lnTo>
                    <a:pt x="46534" y="69443"/>
                  </a:lnTo>
                  <a:lnTo>
                    <a:pt x="47148" y="70159"/>
                  </a:lnTo>
                  <a:lnTo>
                    <a:pt x="47352" y="69852"/>
                  </a:lnTo>
                  <a:lnTo>
                    <a:pt x="47045" y="69443"/>
                  </a:lnTo>
                  <a:lnTo>
                    <a:pt x="47045" y="69443"/>
                  </a:lnTo>
                  <a:lnTo>
                    <a:pt x="48784" y="71386"/>
                  </a:lnTo>
                  <a:lnTo>
                    <a:pt x="48784" y="71386"/>
                  </a:lnTo>
                  <a:lnTo>
                    <a:pt x="48580" y="71080"/>
                  </a:lnTo>
                  <a:lnTo>
                    <a:pt x="49091" y="71693"/>
                  </a:lnTo>
                  <a:lnTo>
                    <a:pt x="49705" y="71489"/>
                  </a:lnTo>
                  <a:lnTo>
                    <a:pt x="50625" y="72205"/>
                  </a:lnTo>
                  <a:lnTo>
                    <a:pt x="50727" y="71898"/>
                  </a:lnTo>
                  <a:lnTo>
                    <a:pt x="51136" y="72614"/>
                  </a:lnTo>
                  <a:lnTo>
                    <a:pt x="51648" y="72307"/>
                  </a:lnTo>
                  <a:lnTo>
                    <a:pt x="51341" y="71693"/>
                  </a:lnTo>
                  <a:lnTo>
                    <a:pt x="52670" y="70773"/>
                  </a:lnTo>
                  <a:lnTo>
                    <a:pt x="53182" y="71489"/>
                  </a:lnTo>
                  <a:lnTo>
                    <a:pt x="53182" y="71284"/>
                  </a:lnTo>
                  <a:lnTo>
                    <a:pt x="53386" y="71386"/>
                  </a:lnTo>
                  <a:lnTo>
                    <a:pt x="53489" y="71284"/>
                  </a:lnTo>
                  <a:lnTo>
                    <a:pt x="53693" y="71693"/>
                  </a:lnTo>
                  <a:lnTo>
                    <a:pt x="53386" y="71386"/>
                  </a:lnTo>
                  <a:lnTo>
                    <a:pt x="53182" y="71795"/>
                  </a:lnTo>
                  <a:lnTo>
                    <a:pt x="53795" y="75682"/>
                  </a:lnTo>
                  <a:lnTo>
                    <a:pt x="53898" y="75682"/>
                  </a:lnTo>
                  <a:lnTo>
                    <a:pt x="53898" y="75989"/>
                  </a:lnTo>
                  <a:lnTo>
                    <a:pt x="54000" y="75886"/>
                  </a:lnTo>
                  <a:lnTo>
                    <a:pt x="54205" y="75989"/>
                  </a:lnTo>
                  <a:lnTo>
                    <a:pt x="53489" y="77216"/>
                  </a:lnTo>
                  <a:lnTo>
                    <a:pt x="52977" y="77523"/>
                  </a:lnTo>
                  <a:lnTo>
                    <a:pt x="52773" y="78239"/>
                  </a:lnTo>
                  <a:lnTo>
                    <a:pt x="52364" y="78341"/>
                  </a:lnTo>
                  <a:lnTo>
                    <a:pt x="52568" y="78750"/>
                  </a:lnTo>
                  <a:lnTo>
                    <a:pt x="51648" y="79159"/>
                  </a:lnTo>
                  <a:lnTo>
                    <a:pt x="51239" y="80693"/>
                  </a:lnTo>
                  <a:lnTo>
                    <a:pt x="51034" y="80591"/>
                  </a:lnTo>
                  <a:lnTo>
                    <a:pt x="50727" y="81307"/>
                  </a:lnTo>
                  <a:lnTo>
                    <a:pt x="50727" y="82227"/>
                  </a:lnTo>
                  <a:lnTo>
                    <a:pt x="51034" y="82739"/>
                  </a:lnTo>
                  <a:lnTo>
                    <a:pt x="51545" y="82432"/>
                  </a:lnTo>
                  <a:lnTo>
                    <a:pt x="51648" y="82125"/>
                  </a:lnTo>
                  <a:lnTo>
                    <a:pt x="51750" y="82841"/>
                  </a:lnTo>
                  <a:lnTo>
                    <a:pt x="50318" y="84886"/>
                  </a:lnTo>
                  <a:lnTo>
                    <a:pt x="50830" y="85909"/>
                  </a:lnTo>
                  <a:lnTo>
                    <a:pt x="50625" y="86011"/>
                  </a:lnTo>
                  <a:lnTo>
                    <a:pt x="60852" y="98693"/>
                  </a:lnTo>
                  <a:lnTo>
                    <a:pt x="61977" y="118125"/>
                  </a:lnTo>
                  <a:lnTo>
                    <a:pt x="61670" y="118330"/>
                  </a:lnTo>
                  <a:lnTo>
                    <a:pt x="63102" y="122932"/>
                  </a:lnTo>
                  <a:lnTo>
                    <a:pt x="64125" y="122625"/>
                  </a:lnTo>
                  <a:lnTo>
                    <a:pt x="63818" y="123136"/>
                  </a:lnTo>
                  <a:lnTo>
                    <a:pt x="64125" y="123136"/>
                  </a:lnTo>
                  <a:lnTo>
                    <a:pt x="64330" y="123648"/>
                  </a:lnTo>
                  <a:lnTo>
                    <a:pt x="64023" y="123648"/>
                  </a:lnTo>
                  <a:lnTo>
                    <a:pt x="64227" y="125284"/>
                  </a:lnTo>
                  <a:lnTo>
                    <a:pt x="64636" y="125489"/>
                  </a:lnTo>
                  <a:lnTo>
                    <a:pt x="64534" y="126511"/>
                  </a:lnTo>
                  <a:lnTo>
                    <a:pt x="64943" y="126716"/>
                  </a:lnTo>
                  <a:lnTo>
                    <a:pt x="64330" y="126716"/>
                  </a:lnTo>
                  <a:lnTo>
                    <a:pt x="64636" y="127432"/>
                  </a:lnTo>
                  <a:lnTo>
                    <a:pt x="64534" y="127739"/>
                  </a:lnTo>
                  <a:lnTo>
                    <a:pt x="64330" y="127023"/>
                  </a:lnTo>
                  <a:lnTo>
                    <a:pt x="64023" y="127432"/>
                  </a:lnTo>
                  <a:lnTo>
                    <a:pt x="64023" y="127432"/>
                  </a:lnTo>
                  <a:lnTo>
                    <a:pt x="64227" y="127023"/>
                  </a:lnTo>
                  <a:lnTo>
                    <a:pt x="64023" y="126614"/>
                  </a:lnTo>
                  <a:lnTo>
                    <a:pt x="64023" y="127023"/>
                  </a:lnTo>
                  <a:lnTo>
                    <a:pt x="63409" y="127125"/>
                  </a:lnTo>
                  <a:lnTo>
                    <a:pt x="63614" y="127432"/>
                  </a:lnTo>
                  <a:lnTo>
                    <a:pt x="63205" y="127943"/>
                  </a:lnTo>
                  <a:lnTo>
                    <a:pt x="63205" y="127943"/>
                  </a:lnTo>
                  <a:lnTo>
                    <a:pt x="63716" y="127739"/>
                  </a:lnTo>
                  <a:lnTo>
                    <a:pt x="64227" y="128148"/>
                  </a:lnTo>
                  <a:lnTo>
                    <a:pt x="64227" y="128045"/>
                  </a:lnTo>
                  <a:lnTo>
                    <a:pt x="64534" y="128250"/>
                  </a:lnTo>
                  <a:lnTo>
                    <a:pt x="64534" y="128455"/>
                  </a:lnTo>
                  <a:lnTo>
                    <a:pt x="64432" y="128659"/>
                  </a:lnTo>
                  <a:lnTo>
                    <a:pt x="64636" y="129068"/>
                  </a:lnTo>
                  <a:lnTo>
                    <a:pt x="65148" y="128864"/>
                  </a:lnTo>
                  <a:lnTo>
                    <a:pt x="65557" y="129477"/>
                  </a:lnTo>
                  <a:lnTo>
                    <a:pt x="64534" y="129273"/>
                  </a:lnTo>
                  <a:lnTo>
                    <a:pt x="65148" y="129682"/>
                  </a:lnTo>
                  <a:lnTo>
                    <a:pt x="65455" y="130705"/>
                  </a:lnTo>
                  <a:lnTo>
                    <a:pt x="65352" y="130295"/>
                  </a:lnTo>
                  <a:lnTo>
                    <a:pt x="65455" y="130295"/>
                  </a:lnTo>
                  <a:lnTo>
                    <a:pt x="65864" y="131216"/>
                  </a:lnTo>
                  <a:lnTo>
                    <a:pt x="65352" y="131420"/>
                  </a:lnTo>
                  <a:lnTo>
                    <a:pt x="66068" y="131727"/>
                  </a:lnTo>
                  <a:lnTo>
                    <a:pt x="65864" y="131727"/>
                  </a:lnTo>
                  <a:lnTo>
                    <a:pt x="66170" y="132034"/>
                  </a:lnTo>
                  <a:lnTo>
                    <a:pt x="66273" y="131727"/>
                  </a:lnTo>
                  <a:lnTo>
                    <a:pt x="66375" y="131932"/>
                  </a:lnTo>
                  <a:lnTo>
                    <a:pt x="66375" y="132239"/>
                  </a:lnTo>
                  <a:lnTo>
                    <a:pt x="66170" y="132034"/>
                  </a:lnTo>
                  <a:lnTo>
                    <a:pt x="65557" y="131625"/>
                  </a:lnTo>
                  <a:lnTo>
                    <a:pt x="65250" y="131932"/>
                  </a:lnTo>
                  <a:lnTo>
                    <a:pt x="67193" y="133261"/>
                  </a:lnTo>
                  <a:lnTo>
                    <a:pt x="67398" y="133159"/>
                  </a:lnTo>
                  <a:lnTo>
                    <a:pt x="67091" y="132750"/>
                  </a:lnTo>
                  <a:lnTo>
                    <a:pt x="67705" y="133057"/>
                  </a:lnTo>
                  <a:lnTo>
                    <a:pt x="67398" y="133159"/>
                  </a:lnTo>
                  <a:lnTo>
                    <a:pt x="67500" y="133261"/>
                  </a:lnTo>
                  <a:lnTo>
                    <a:pt x="67602" y="133159"/>
                  </a:lnTo>
                  <a:lnTo>
                    <a:pt x="67807" y="133568"/>
                  </a:lnTo>
                  <a:lnTo>
                    <a:pt x="67807" y="133568"/>
                  </a:lnTo>
                  <a:lnTo>
                    <a:pt x="67500" y="133261"/>
                  </a:lnTo>
                  <a:lnTo>
                    <a:pt x="67295" y="133364"/>
                  </a:lnTo>
                  <a:lnTo>
                    <a:pt x="66477" y="133364"/>
                  </a:lnTo>
                  <a:lnTo>
                    <a:pt x="66886" y="133773"/>
                  </a:lnTo>
                  <a:lnTo>
                    <a:pt x="67500" y="133670"/>
                  </a:lnTo>
                  <a:lnTo>
                    <a:pt x="67295" y="134080"/>
                  </a:lnTo>
                  <a:lnTo>
                    <a:pt x="67705" y="134284"/>
                  </a:lnTo>
                  <a:lnTo>
                    <a:pt x="67807" y="134080"/>
                  </a:lnTo>
                  <a:lnTo>
                    <a:pt x="67926" y="134000"/>
                  </a:lnTo>
                  <a:lnTo>
                    <a:pt x="67926" y="134000"/>
                  </a:lnTo>
                  <a:lnTo>
                    <a:pt x="68420" y="134693"/>
                  </a:lnTo>
                  <a:lnTo>
                    <a:pt x="69136" y="133977"/>
                  </a:lnTo>
                  <a:lnTo>
                    <a:pt x="69136" y="134284"/>
                  </a:lnTo>
                  <a:lnTo>
                    <a:pt x="68932" y="134489"/>
                  </a:lnTo>
                  <a:lnTo>
                    <a:pt x="68932" y="134693"/>
                  </a:lnTo>
                  <a:lnTo>
                    <a:pt x="68727" y="134795"/>
                  </a:lnTo>
                  <a:lnTo>
                    <a:pt x="69750" y="134795"/>
                  </a:lnTo>
                  <a:lnTo>
                    <a:pt x="69545" y="134182"/>
                  </a:lnTo>
                  <a:lnTo>
                    <a:pt x="69767" y="133988"/>
                  </a:lnTo>
                  <a:lnTo>
                    <a:pt x="69767" y="133988"/>
                  </a:lnTo>
                  <a:lnTo>
                    <a:pt x="70057" y="134182"/>
                  </a:lnTo>
                  <a:lnTo>
                    <a:pt x="69852" y="134284"/>
                  </a:lnTo>
                  <a:lnTo>
                    <a:pt x="70568" y="134591"/>
                  </a:lnTo>
                  <a:lnTo>
                    <a:pt x="70364" y="135000"/>
                  </a:lnTo>
                  <a:lnTo>
                    <a:pt x="71489" y="135614"/>
                  </a:lnTo>
                  <a:lnTo>
                    <a:pt x="71386" y="135716"/>
                  </a:lnTo>
                  <a:lnTo>
                    <a:pt x="70159" y="135205"/>
                  </a:lnTo>
                  <a:lnTo>
                    <a:pt x="70364" y="135205"/>
                  </a:lnTo>
                  <a:lnTo>
                    <a:pt x="70057" y="135000"/>
                  </a:lnTo>
                  <a:lnTo>
                    <a:pt x="69955" y="135102"/>
                  </a:lnTo>
                  <a:lnTo>
                    <a:pt x="70568" y="135716"/>
                  </a:lnTo>
                  <a:lnTo>
                    <a:pt x="70057" y="135511"/>
                  </a:lnTo>
                  <a:lnTo>
                    <a:pt x="69443" y="135716"/>
                  </a:lnTo>
                  <a:lnTo>
                    <a:pt x="69545" y="135818"/>
                  </a:lnTo>
                  <a:lnTo>
                    <a:pt x="73943" y="136125"/>
                  </a:lnTo>
                  <a:lnTo>
                    <a:pt x="74557" y="135818"/>
                  </a:lnTo>
                  <a:lnTo>
                    <a:pt x="71489" y="134489"/>
                  </a:lnTo>
                  <a:lnTo>
                    <a:pt x="71591" y="134284"/>
                  </a:lnTo>
                  <a:lnTo>
                    <a:pt x="71080" y="133875"/>
                  </a:lnTo>
                  <a:lnTo>
                    <a:pt x="69782" y="133975"/>
                  </a:lnTo>
                  <a:lnTo>
                    <a:pt x="69782" y="133975"/>
                  </a:lnTo>
                  <a:lnTo>
                    <a:pt x="70364" y="133466"/>
                  </a:lnTo>
                  <a:lnTo>
                    <a:pt x="71080" y="133568"/>
                  </a:lnTo>
                  <a:lnTo>
                    <a:pt x="71080" y="133568"/>
                  </a:lnTo>
                  <a:lnTo>
                    <a:pt x="70057" y="132852"/>
                  </a:lnTo>
                  <a:lnTo>
                    <a:pt x="70364" y="132750"/>
                  </a:lnTo>
                  <a:lnTo>
                    <a:pt x="69852" y="132341"/>
                  </a:lnTo>
                  <a:lnTo>
                    <a:pt x="70159" y="131318"/>
                  </a:lnTo>
                  <a:lnTo>
                    <a:pt x="69750" y="131216"/>
                  </a:lnTo>
                  <a:lnTo>
                    <a:pt x="69955" y="131216"/>
                  </a:lnTo>
                  <a:lnTo>
                    <a:pt x="69955" y="131011"/>
                  </a:lnTo>
                  <a:lnTo>
                    <a:pt x="70670" y="131216"/>
                  </a:lnTo>
                  <a:lnTo>
                    <a:pt x="70670" y="131216"/>
                  </a:lnTo>
                  <a:lnTo>
                    <a:pt x="70466" y="130500"/>
                  </a:lnTo>
                  <a:lnTo>
                    <a:pt x="71591" y="129170"/>
                  </a:lnTo>
                  <a:lnTo>
                    <a:pt x="71182" y="129068"/>
                  </a:lnTo>
                  <a:lnTo>
                    <a:pt x="71284" y="128455"/>
                  </a:lnTo>
                  <a:lnTo>
                    <a:pt x="69443" y="127330"/>
                  </a:lnTo>
                  <a:lnTo>
                    <a:pt x="69852" y="126409"/>
                  </a:lnTo>
                  <a:lnTo>
                    <a:pt x="70159" y="126205"/>
                  </a:lnTo>
                  <a:lnTo>
                    <a:pt x="70670" y="126205"/>
                  </a:lnTo>
                  <a:lnTo>
                    <a:pt x="70568" y="124670"/>
                  </a:lnTo>
                  <a:lnTo>
                    <a:pt x="71182" y="124159"/>
                  </a:lnTo>
                  <a:lnTo>
                    <a:pt x="70568" y="123852"/>
                  </a:lnTo>
                  <a:lnTo>
                    <a:pt x="70977" y="123750"/>
                  </a:lnTo>
                  <a:lnTo>
                    <a:pt x="71284" y="124057"/>
                  </a:lnTo>
                  <a:lnTo>
                    <a:pt x="71284" y="124057"/>
                  </a:lnTo>
                  <a:lnTo>
                    <a:pt x="70977" y="123443"/>
                  </a:lnTo>
                  <a:lnTo>
                    <a:pt x="70773" y="123545"/>
                  </a:lnTo>
                  <a:lnTo>
                    <a:pt x="70364" y="123239"/>
                  </a:lnTo>
                  <a:lnTo>
                    <a:pt x="69955" y="122318"/>
                  </a:lnTo>
                  <a:lnTo>
                    <a:pt x="70057" y="122011"/>
                  </a:lnTo>
                  <a:lnTo>
                    <a:pt x="71182" y="122318"/>
                  </a:lnTo>
                  <a:lnTo>
                    <a:pt x="72205" y="122011"/>
                  </a:lnTo>
                  <a:lnTo>
                    <a:pt x="72000" y="121193"/>
                  </a:lnTo>
                  <a:lnTo>
                    <a:pt x="72102" y="120886"/>
                  </a:lnTo>
                  <a:lnTo>
                    <a:pt x="71898" y="120580"/>
                  </a:lnTo>
                  <a:lnTo>
                    <a:pt x="72000" y="120580"/>
                  </a:lnTo>
                  <a:lnTo>
                    <a:pt x="71693" y="120170"/>
                  </a:lnTo>
                  <a:lnTo>
                    <a:pt x="75477" y="119250"/>
                  </a:lnTo>
                  <a:lnTo>
                    <a:pt x="75886" y="117716"/>
                  </a:lnTo>
                  <a:lnTo>
                    <a:pt x="73739" y="114545"/>
                  </a:lnTo>
                  <a:lnTo>
                    <a:pt x="73739" y="114034"/>
                  </a:lnTo>
                  <a:lnTo>
                    <a:pt x="73943" y="114034"/>
                  </a:lnTo>
                  <a:lnTo>
                    <a:pt x="73841" y="113420"/>
                  </a:lnTo>
                  <a:lnTo>
                    <a:pt x="74045" y="113932"/>
                  </a:lnTo>
                  <a:lnTo>
                    <a:pt x="73841" y="114341"/>
                  </a:lnTo>
                  <a:lnTo>
                    <a:pt x="74557" y="115466"/>
                  </a:lnTo>
                  <a:lnTo>
                    <a:pt x="77216" y="115875"/>
                  </a:lnTo>
                  <a:lnTo>
                    <a:pt x="79466" y="111580"/>
                  </a:lnTo>
                  <a:lnTo>
                    <a:pt x="79568" y="111682"/>
                  </a:lnTo>
                  <a:lnTo>
                    <a:pt x="79568" y="111273"/>
                  </a:lnTo>
                  <a:lnTo>
                    <a:pt x="79466" y="110966"/>
                  </a:lnTo>
                  <a:lnTo>
                    <a:pt x="79773" y="111273"/>
                  </a:lnTo>
                  <a:lnTo>
                    <a:pt x="79875" y="111273"/>
                  </a:lnTo>
                  <a:lnTo>
                    <a:pt x="79364" y="112500"/>
                  </a:lnTo>
                  <a:lnTo>
                    <a:pt x="79773" y="112193"/>
                  </a:lnTo>
                  <a:lnTo>
                    <a:pt x="80080" y="111170"/>
                  </a:lnTo>
                  <a:lnTo>
                    <a:pt x="79875" y="111273"/>
                  </a:lnTo>
                  <a:lnTo>
                    <a:pt x="79875" y="111273"/>
                  </a:lnTo>
                  <a:lnTo>
                    <a:pt x="81409" y="107898"/>
                  </a:lnTo>
                  <a:lnTo>
                    <a:pt x="81102" y="106159"/>
                  </a:lnTo>
                  <a:lnTo>
                    <a:pt x="81614" y="106057"/>
                  </a:lnTo>
                  <a:lnTo>
                    <a:pt x="81511" y="106159"/>
                  </a:lnTo>
                  <a:lnTo>
                    <a:pt x="85398" y="103705"/>
                  </a:lnTo>
                  <a:lnTo>
                    <a:pt x="85807" y="103602"/>
                  </a:lnTo>
                  <a:lnTo>
                    <a:pt x="85909" y="103398"/>
                  </a:lnTo>
                  <a:lnTo>
                    <a:pt x="86114" y="103705"/>
                  </a:lnTo>
                  <a:lnTo>
                    <a:pt x="86830" y="103602"/>
                  </a:lnTo>
                  <a:lnTo>
                    <a:pt x="86932" y="103091"/>
                  </a:lnTo>
                  <a:lnTo>
                    <a:pt x="87750" y="102580"/>
                  </a:lnTo>
                  <a:lnTo>
                    <a:pt x="89080" y="94398"/>
                  </a:lnTo>
                  <a:lnTo>
                    <a:pt x="89080" y="93170"/>
                  </a:lnTo>
                  <a:lnTo>
                    <a:pt x="89284" y="93068"/>
                  </a:lnTo>
                  <a:lnTo>
                    <a:pt x="89489" y="93375"/>
                  </a:lnTo>
                  <a:lnTo>
                    <a:pt x="90409" y="91534"/>
                  </a:lnTo>
                  <a:lnTo>
                    <a:pt x="90409" y="91739"/>
                  </a:lnTo>
                  <a:lnTo>
                    <a:pt x="92557" y="87136"/>
                  </a:lnTo>
                  <a:lnTo>
                    <a:pt x="91943" y="85398"/>
                  </a:lnTo>
                  <a:lnTo>
                    <a:pt x="84273" y="82739"/>
                  </a:lnTo>
                  <a:lnTo>
                    <a:pt x="84068" y="82943"/>
                  </a:lnTo>
                  <a:lnTo>
                    <a:pt x="83966" y="82534"/>
                  </a:lnTo>
                  <a:lnTo>
                    <a:pt x="83557" y="83352"/>
                  </a:lnTo>
                  <a:lnTo>
                    <a:pt x="83557" y="83352"/>
                  </a:lnTo>
                  <a:lnTo>
                    <a:pt x="83659" y="82636"/>
                  </a:lnTo>
                  <a:lnTo>
                    <a:pt x="83557" y="82330"/>
                  </a:lnTo>
                  <a:lnTo>
                    <a:pt x="83557" y="81818"/>
                  </a:lnTo>
                  <a:lnTo>
                    <a:pt x="80591" y="80795"/>
                  </a:lnTo>
                  <a:lnTo>
                    <a:pt x="79057" y="82739"/>
                  </a:lnTo>
                  <a:lnTo>
                    <a:pt x="79364" y="81818"/>
                  </a:lnTo>
                  <a:lnTo>
                    <a:pt x="78341" y="82125"/>
                  </a:lnTo>
                  <a:lnTo>
                    <a:pt x="77932" y="81307"/>
                  </a:lnTo>
                  <a:lnTo>
                    <a:pt x="77625" y="81205"/>
                  </a:lnTo>
                  <a:lnTo>
                    <a:pt x="77011" y="81614"/>
                  </a:lnTo>
                  <a:lnTo>
                    <a:pt x="76295" y="81614"/>
                  </a:lnTo>
                  <a:lnTo>
                    <a:pt x="78852" y="78750"/>
                  </a:lnTo>
                  <a:lnTo>
                    <a:pt x="77216" y="75375"/>
                  </a:lnTo>
                  <a:lnTo>
                    <a:pt x="77011" y="75580"/>
                  </a:lnTo>
                  <a:lnTo>
                    <a:pt x="76807" y="75068"/>
                  </a:lnTo>
                  <a:lnTo>
                    <a:pt x="76705" y="75170"/>
                  </a:lnTo>
                  <a:lnTo>
                    <a:pt x="75273" y="74148"/>
                  </a:lnTo>
                  <a:lnTo>
                    <a:pt x="75068" y="74557"/>
                  </a:lnTo>
                  <a:lnTo>
                    <a:pt x="74455" y="73841"/>
                  </a:lnTo>
                  <a:lnTo>
                    <a:pt x="73432" y="74148"/>
                  </a:lnTo>
                  <a:lnTo>
                    <a:pt x="72614" y="73943"/>
                  </a:lnTo>
                  <a:lnTo>
                    <a:pt x="72307" y="74352"/>
                  </a:lnTo>
                  <a:lnTo>
                    <a:pt x="72307" y="73739"/>
                  </a:lnTo>
                  <a:lnTo>
                    <a:pt x="71284" y="72920"/>
                  </a:lnTo>
                  <a:lnTo>
                    <a:pt x="70977" y="73432"/>
                  </a:lnTo>
                  <a:lnTo>
                    <a:pt x="70977" y="73432"/>
                  </a:lnTo>
                  <a:lnTo>
                    <a:pt x="71080" y="72307"/>
                  </a:lnTo>
                  <a:lnTo>
                    <a:pt x="69852" y="71284"/>
                  </a:lnTo>
                  <a:lnTo>
                    <a:pt x="68420" y="71182"/>
                  </a:lnTo>
                  <a:lnTo>
                    <a:pt x="68830" y="70875"/>
                  </a:lnTo>
                  <a:lnTo>
                    <a:pt x="69034" y="70568"/>
                  </a:lnTo>
                  <a:lnTo>
                    <a:pt x="68932" y="70159"/>
                  </a:lnTo>
                  <a:lnTo>
                    <a:pt x="68420" y="69852"/>
                  </a:lnTo>
                  <a:lnTo>
                    <a:pt x="68318" y="69955"/>
                  </a:lnTo>
                  <a:lnTo>
                    <a:pt x="68318" y="70159"/>
                  </a:lnTo>
                  <a:lnTo>
                    <a:pt x="67909" y="69852"/>
                  </a:lnTo>
                  <a:lnTo>
                    <a:pt x="67807" y="69955"/>
                  </a:lnTo>
                  <a:lnTo>
                    <a:pt x="67602" y="69545"/>
                  </a:lnTo>
                  <a:lnTo>
                    <a:pt x="67398" y="69648"/>
                  </a:lnTo>
                  <a:lnTo>
                    <a:pt x="67295" y="69239"/>
                  </a:lnTo>
                  <a:lnTo>
                    <a:pt x="68216" y="69034"/>
                  </a:lnTo>
                  <a:lnTo>
                    <a:pt x="66068" y="69136"/>
                  </a:lnTo>
                  <a:lnTo>
                    <a:pt x="66068" y="69239"/>
                  </a:lnTo>
                  <a:lnTo>
                    <a:pt x="66580" y="69239"/>
                  </a:lnTo>
                  <a:lnTo>
                    <a:pt x="65045" y="69648"/>
                  </a:lnTo>
                  <a:lnTo>
                    <a:pt x="64636" y="69443"/>
                  </a:lnTo>
                  <a:lnTo>
                    <a:pt x="64432" y="69136"/>
                  </a:lnTo>
                  <a:lnTo>
                    <a:pt x="62489" y="69136"/>
                  </a:lnTo>
                  <a:lnTo>
                    <a:pt x="62284" y="68523"/>
                  </a:lnTo>
                  <a:lnTo>
                    <a:pt x="61466" y="68216"/>
                  </a:lnTo>
                  <a:lnTo>
                    <a:pt x="61159" y="67705"/>
                  </a:lnTo>
                  <a:lnTo>
                    <a:pt x="60750" y="67705"/>
                  </a:lnTo>
                  <a:lnTo>
                    <a:pt x="61159" y="68114"/>
                  </a:lnTo>
                  <a:lnTo>
                    <a:pt x="59727" y="68727"/>
                  </a:lnTo>
                  <a:lnTo>
                    <a:pt x="59523" y="69239"/>
                  </a:lnTo>
                  <a:lnTo>
                    <a:pt x="59932" y="70057"/>
                  </a:lnTo>
                  <a:lnTo>
                    <a:pt x="59625" y="70670"/>
                  </a:lnTo>
                  <a:lnTo>
                    <a:pt x="59216" y="70364"/>
                  </a:lnTo>
                  <a:lnTo>
                    <a:pt x="59114" y="69648"/>
                  </a:lnTo>
                  <a:lnTo>
                    <a:pt x="59420" y="69239"/>
                  </a:lnTo>
                  <a:lnTo>
                    <a:pt x="59318" y="68727"/>
                  </a:lnTo>
                  <a:lnTo>
                    <a:pt x="59420" y="68727"/>
                  </a:lnTo>
                  <a:lnTo>
                    <a:pt x="59216" y="68114"/>
                  </a:lnTo>
                  <a:lnTo>
                    <a:pt x="59830" y="67807"/>
                  </a:lnTo>
                  <a:lnTo>
                    <a:pt x="59625" y="67295"/>
                  </a:lnTo>
                  <a:lnTo>
                    <a:pt x="56966" y="68932"/>
                  </a:lnTo>
                  <a:lnTo>
                    <a:pt x="56966" y="68727"/>
                  </a:lnTo>
                  <a:lnTo>
                    <a:pt x="56557" y="68625"/>
                  </a:lnTo>
                  <a:lnTo>
                    <a:pt x="55739" y="69648"/>
                  </a:lnTo>
                  <a:lnTo>
                    <a:pt x="55841" y="69545"/>
                  </a:lnTo>
                  <a:lnTo>
                    <a:pt x="55534" y="70364"/>
                  </a:lnTo>
                  <a:lnTo>
                    <a:pt x="54614" y="71182"/>
                  </a:lnTo>
                  <a:lnTo>
                    <a:pt x="54511" y="71898"/>
                  </a:lnTo>
                  <a:lnTo>
                    <a:pt x="52977" y="70364"/>
                  </a:lnTo>
                  <a:lnTo>
                    <a:pt x="52057" y="70261"/>
                  </a:lnTo>
                  <a:lnTo>
                    <a:pt x="51034" y="70875"/>
                  </a:lnTo>
                  <a:lnTo>
                    <a:pt x="50011" y="70670"/>
                  </a:lnTo>
                  <a:lnTo>
                    <a:pt x="50011" y="70670"/>
                  </a:lnTo>
                  <a:lnTo>
                    <a:pt x="50114" y="70875"/>
                  </a:lnTo>
                  <a:lnTo>
                    <a:pt x="48375" y="68420"/>
                  </a:lnTo>
                  <a:lnTo>
                    <a:pt x="48580" y="67602"/>
                  </a:lnTo>
                  <a:lnTo>
                    <a:pt x="48682" y="67705"/>
                  </a:lnTo>
                  <a:lnTo>
                    <a:pt x="48784" y="66989"/>
                  </a:lnTo>
                  <a:lnTo>
                    <a:pt x="48784" y="67193"/>
                  </a:lnTo>
                  <a:lnTo>
                    <a:pt x="49193" y="64739"/>
                  </a:lnTo>
                  <a:lnTo>
                    <a:pt x="48989" y="64330"/>
                  </a:lnTo>
                  <a:lnTo>
                    <a:pt x="48580" y="64125"/>
                  </a:lnTo>
                  <a:lnTo>
                    <a:pt x="48886" y="64227"/>
                  </a:lnTo>
                  <a:lnTo>
                    <a:pt x="48273" y="63716"/>
                  </a:lnTo>
                  <a:lnTo>
                    <a:pt x="44284" y="63614"/>
                  </a:lnTo>
                  <a:lnTo>
                    <a:pt x="45000" y="62795"/>
                  </a:lnTo>
                  <a:lnTo>
                    <a:pt x="45102" y="61159"/>
                  </a:lnTo>
                  <a:lnTo>
                    <a:pt x="45409" y="60648"/>
                  </a:lnTo>
                  <a:lnTo>
                    <a:pt x="45511" y="61261"/>
                  </a:lnTo>
                  <a:lnTo>
                    <a:pt x="46023" y="60136"/>
                  </a:lnTo>
                  <a:lnTo>
                    <a:pt x="45818" y="60239"/>
                  </a:lnTo>
                  <a:lnTo>
                    <a:pt x="46125" y="59932"/>
                  </a:lnTo>
                  <a:lnTo>
                    <a:pt x="46125" y="59625"/>
                  </a:lnTo>
                  <a:lnTo>
                    <a:pt x="46534" y="58807"/>
                  </a:lnTo>
                  <a:lnTo>
                    <a:pt x="46432" y="57989"/>
                  </a:lnTo>
                  <a:lnTo>
                    <a:pt x="43875" y="58295"/>
                  </a:lnTo>
                  <a:lnTo>
                    <a:pt x="42955" y="60239"/>
                  </a:lnTo>
                  <a:lnTo>
                    <a:pt x="42341" y="60648"/>
                  </a:lnTo>
                  <a:lnTo>
                    <a:pt x="42545" y="60648"/>
                  </a:lnTo>
                  <a:lnTo>
                    <a:pt x="42443" y="60955"/>
                  </a:lnTo>
                  <a:lnTo>
                    <a:pt x="39477" y="61261"/>
                  </a:lnTo>
                  <a:lnTo>
                    <a:pt x="38557" y="60750"/>
                  </a:lnTo>
                  <a:lnTo>
                    <a:pt x="38557" y="60750"/>
                  </a:lnTo>
                  <a:lnTo>
                    <a:pt x="38659" y="60852"/>
                  </a:lnTo>
                  <a:lnTo>
                    <a:pt x="38659" y="60852"/>
                  </a:lnTo>
                  <a:lnTo>
                    <a:pt x="38352" y="60648"/>
                  </a:lnTo>
                  <a:lnTo>
                    <a:pt x="38352" y="60648"/>
                  </a:lnTo>
                  <a:lnTo>
                    <a:pt x="38557" y="60750"/>
                  </a:lnTo>
                  <a:lnTo>
                    <a:pt x="37432" y="57989"/>
                  </a:lnTo>
                  <a:lnTo>
                    <a:pt x="37432" y="58193"/>
                  </a:lnTo>
                  <a:lnTo>
                    <a:pt x="37227" y="57375"/>
                  </a:lnTo>
                  <a:lnTo>
                    <a:pt x="37432" y="57989"/>
                  </a:lnTo>
                  <a:lnTo>
                    <a:pt x="38455" y="52159"/>
                  </a:lnTo>
                  <a:lnTo>
                    <a:pt x="38250" y="51750"/>
                  </a:lnTo>
                  <a:lnTo>
                    <a:pt x="38761" y="51545"/>
                  </a:lnTo>
                  <a:lnTo>
                    <a:pt x="38761" y="51341"/>
                  </a:lnTo>
                  <a:lnTo>
                    <a:pt x="39068" y="51136"/>
                  </a:lnTo>
                  <a:lnTo>
                    <a:pt x="38966" y="51136"/>
                  </a:lnTo>
                  <a:lnTo>
                    <a:pt x="39170" y="51034"/>
                  </a:lnTo>
                  <a:lnTo>
                    <a:pt x="39375" y="50830"/>
                  </a:lnTo>
                  <a:lnTo>
                    <a:pt x="39682" y="50727"/>
                  </a:lnTo>
                  <a:lnTo>
                    <a:pt x="39580" y="50523"/>
                  </a:lnTo>
                  <a:lnTo>
                    <a:pt x="40091" y="50625"/>
                  </a:lnTo>
                  <a:lnTo>
                    <a:pt x="41216" y="49909"/>
                  </a:lnTo>
                  <a:lnTo>
                    <a:pt x="41216" y="49705"/>
                  </a:lnTo>
                  <a:lnTo>
                    <a:pt x="41420" y="49398"/>
                  </a:lnTo>
                  <a:lnTo>
                    <a:pt x="41420" y="49602"/>
                  </a:lnTo>
                  <a:lnTo>
                    <a:pt x="41625" y="49602"/>
                  </a:lnTo>
                  <a:lnTo>
                    <a:pt x="41318" y="49807"/>
                  </a:lnTo>
                  <a:lnTo>
                    <a:pt x="42341" y="49193"/>
                  </a:lnTo>
                  <a:lnTo>
                    <a:pt x="43773" y="49602"/>
                  </a:lnTo>
                  <a:lnTo>
                    <a:pt x="43977" y="49398"/>
                  </a:lnTo>
                  <a:lnTo>
                    <a:pt x="44489" y="49602"/>
                  </a:lnTo>
                  <a:lnTo>
                    <a:pt x="44489" y="49909"/>
                  </a:lnTo>
                  <a:lnTo>
                    <a:pt x="44386" y="49909"/>
                  </a:lnTo>
                  <a:lnTo>
                    <a:pt x="45205" y="50114"/>
                  </a:lnTo>
                  <a:lnTo>
                    <a:pt x="45409" y="49705"/>
                  </a:lnTo>
                  <a:lnTo>
                    <a:pt x="45920" y="50216"/>
                  </a:lnTo>
                  <a:lnTo>
                    <a:pt x="46125" y="50216"/>
                  </a:lnTo>
                  <a:lnTo>
                    <a:pt x="45818" y="49705"/>
                  </a:lnTo>
                  <a:lnTo>
                    <a:pt x="46227" y="49091"/>
                  </a:lnTo>
                  <a:lnTo>
                    <a:pt x="46227" y="49091"/>
                  </a:lnTo>
                  <a:lnTo>
                    <a:pt x="45920" y="49295"/>
                  </a:lnTo>
                  <a:lnTo>
                    <a:pt x="46023" y="48989"/>
                  </a:lnTo>
                  <a:lnTo>
                    <a:pt x="45307" y="49091"/>
                  </a:lnTo>
                  <a:lnTo>
                    <a:pt x="47557" y="48477"/>
                  </a:lnTo>
                  <a:lnTo>
                    <a:pt x="47557" y="48477"/>
                  </a:lnTo>
                  <a:lnTo>
                    <a:pt x="47455" y="48989"/>
                  </a:lnTo>
                  <a:lnTo>
                    <a:pt x="47966" y="48784"/>
                  </a:lnTo>
                  <a:lnTo>
                    <a:pt x="47966" y="48886"/>
                  </a:lnTo>
                  <a:lnTo>
                    <a:pt x="48477" y="48580"/>
                  </a:lnTo>
                  <a:lnTo>
                    <a:pt x="48477" y="48580"/>
                  </a:lnTo>
                  <a:lnTo>
                    <a:pt x="48170" y="48886"/>
                  </a:lnTo>
                  <a:lnTo>
                    <a:pt x="48886" y="48784"/>
                  </a:lnTo>
                  <a:lnTo>
                    <a:pt x="49602" y="48886"/>
                  </a:lnTo>
                  <a:lnTo>
                    <a:pt x="49500" y="49091"/>
                  </a:lnTo>
                  <a:lnTo>
                    <a:pt x="49655" y="49401"/>
                  </a:lnTo>
                  <a:lnTo>
                    <a:pt x="49655" y="49401"/>
                  </a:lnTo>
                  <a:lnTo>
                    <a:pt x="51239" y="49500"/>
                  </a:lnTo>
                  <a:lnTo>
                    <a:pt x="51750" y="50216"/>
                  </a:lnTo>
                  <a:lnTo>
                    <a:pt x="51443" y="51545"/>
                  </a:lnTo>
                  <a:lnTo>
                    <a:pt x="51648" y="51239"/>
                  </a:lnTo>
                  <a:lnTo>
                    <a:pt x="51852" y="51341"/>
                  </a:lnTo>
                  <a:lnTo>
                    <a:pt x="51443" y="51750"/>
                  </a:lnTo>
                  <a:lnTo>
                    <a:pt x="52670" y="54102"/>
                  </a:lnTo>
                  <a:lnTo>
                    <a:pt x="52875" y="54102"/>
                  </a:lnTo>
                  <a:lnTo>
                    <a:pt x="53485" y="53390"/>
                  </a:lnTo>
                  <a:lnTo>
                    <a:pt x="53485" y="53390"/>
                  </a:lnTo>
                  <a:lnTo>
                    <a:pt x="53403" y="50915"/>
                  </a:lnTo>
                  <a:lnTo>
                    <a:pt x="53591" y="50727"/>
                  </a:lnTo>
                  <a:lnTo>
                    <a:pt x="53489" y="47761"/>
                  </a:lnTo>
                  <a:lnTo>
                    <a:pt x="53693" y="47659"/>
                  </a:lnTo>
                  <a:lnTo>
                    <a:pt x="54307" y="46636"/>
                  </a:lnTo>
                  <a:lnTo>
                    <a:pt x="54307" y="46841"/>
                  </a:lnTo>
                  <a:lnTo>
                    <a:pt x="54409" y="46739"/>
                  </a:lnTo>
                  <a:lnTo>
                    <a:pt x="54409" y="46636"/>
                  </a:lnTo>
                  <a:lnTo>
                    <a:pt x="55841" y="45716"/>
                  </a:lnTo>
                  <a:lnTo>
                    <a:pt x="55841" y="45818"/>
                  </a:lnTo>
                  <a:lnTo>
                    <a:pt x="57170" y="44898"/>
                  </a:lnTo>
                  <a:lnTo>
                    <a:pt x="57170" y="45102"/>
                  </a:lnTo>
                  <a:lnTo>
                    <a:pt x="57784" y="44284"/>
                  </a:lnTo>
                  <a:lnTo>
                    <a:pt x="58705" y="44080"/>
                  </a:lnTo>
                  <a:lnTo>
                    <a:pt x="58193" y="43875"/>
                  </a:lnTo>
                  <a:lnTo>
                    <a:pt x="58602" y="43875"/>
                  </a:lnTo>
                  <a:lnTo>
                    <a:pt x="58295" y="43466"/>
                  </a:lnTo>
                  <a:lnTo>
                    <a:pt x="59420" y="43364"/>
                  </a:lnTo>
                  <a:lnTo>
                    <a:pt x="59523" y="43057"/>
                  </a:lnTo>
                  <a:lnTo>
                    <a:pt x="59523" y="43057"/>
                  </a:lnTo>
                  <a:lnTo>
                    <a:pt x="59216" y="43364"/>
                  </a:lnTo>
                  <a:lnTo>
                    <a:pt x="58705" y="43057"/>
                  </a:lnTo>
                  <a:lnTo>
                    <a:pt x="58807" y="42750"/>
                  </a:lnTo>
                  <a:lnTo>
                    <a:pt x="59216" y="42852"/>
                  </a:lnTo>
                  <a:lnTo>
                    <a:pt x="59318" y="42750"/>
                  </a:lnTo>
                  <a:lnTo>
                    <a:pt x="59523" y="42852"/>
                  </a:lnTo>
                  <a:lnTo>
                    <a:pt x="59523" y="42545"/>
                  </a:lnTo>
                  <a:lnTo>
                    <a:pt x="59420" y="42034"/>
                  </a:lnTo>
                  <a:lnTo>
                    <a:pt x="59216" y="41932"/>
                  </a:lnTo>
                  <a:lnTo>
                    <a:pt x="58705" y="41625"/>
                  </a:lnTo>
                  <a:lnTo>
                    <a:pt x="59114" y="41727"/>
                  </a:lnTo>
                  <a:lnTo>
                    <a:pt x="59216" y="41932"/>
                  </a:lnTo>
                  <a:lnTo>
                    <a:pt x="59216" y="41932"/>
                  </a:lnTo>
                  <a:lnTo>
                    <a:pt x="59114" y="41420"/>
                  </a:lnTo>
                  <a:lnTo>
                    <a:pt x="59420" y="41420"/>
                  </a:lnTo>
                  <a:lnTo>
                    <a:pt x="59523" y="41318"/>
                  </a:lnTo>
                  <a:lnTo>
                    <a:pt x="59011" y="40705"/>
                  </a:lnTo>
                  <a:lnTo>
                    <a:pt x="59523" y="41216"/>
                  </a:lnTo>
                  <a:lnTo>
                    <a:pt x="59523" y="40807"/>
                  </a:lnTo>
                  <a:lnTo>
                    <a:pt x="58909" y="40500"/>
                  </a:lnTo>
                  <a:lnTo>
                    <a:pt x="59318" y="39989"/>
                  </a:lnTo>
                  <a:lnTo>
                    <a:pt x="59011" y="40500"/>
                  </a:lnTo>
                  <a:lnTo>
                    <a:pt x="59216" y="40398"/>
                  </a:lnTo>
                  <a:lnTo>
                    <a:pt x="59216" y="40602"/>
                  </a:lnTo>
                  <a:lnTo>
                    <a:pt x="59318" y="40500"/>
                  </a:lnTo>
                  <a:lnTo>
                    <a:pt x="59625" y="40807"/>
                  </a:lnTo>
                  <a:lnTo>
                    <a:pt x="59523" y="40295"/>
                  </a:lnTo>
                  <a:lnTo>
                    <a:pt x="59727" y="40500"/>
                  </a:lnTo>
                  <a:lnTo>
                    <a:pt x="59830" y="39580"/>
                  </a:lnTo>
                  <a:lnTo>
                    <a:pt x="60034" y="39477"/>
                  </a:lnTo>
                  <a:lnTo>
                    <a:pt x="60034" y="39580"/>
                  </a:lnTo>
                  <a:lnTo>
                    <a:pt x="60136" y="39375"/>
                  </a:lnTo>
                  <a:lnTo>
                    <a:pt x="60136" y="39477"/>
                  </a:lnTo>
                  <a:lnTo>
                    <a:pt x="60443" y="39273"/>
                  </a:lnTo>
                  <a:lnTo>
                    <a:pt x="60443" y="39375"/>
                  </a:lnTo>
                  <a:lnTo>
                    <a:pt x="60341" y="39477"/>
                  </a:lnTo>
                  <a:lnTo>
                    <a:pt x="60443" y="39477"/>
                  </a:lnTo>
                  <a:lnTo>
                    <a:pt x="60034" y="39784"/>
                  </a:lnTo>
                  <a:lnTo>
                    <a:pt x="60136" y="39784"/>
                  </a:lnTo>
                  <a:lnTo>
                    <a:pt x="59830" y="40193"/>
                  </a:lnTo>
                  <a:lnTo>
                    <a:pt x="60136" y="40295"/>
                  </a:lnTo>
                  <a:lnTo>
                    <a:pt x="60136" y="40500"/>
                  </a:lnTo>
                  <a:lnTo>
                    <a:pt x="60034" y="40705"/>
                  </a:lnTo>
                  <a:lnTo>
                    <a:pt x="60034" y="40909"/>
                  </a:lnTo>
                  <a:lnTo>
                    <a:pt x="60136" y="40909"/>
                  </a:lnTo>
                  <a:lnTo>
                    <a:pt x="59727" y="41830"/>
                  </a:lnTo>
                  <a:lnTo>
                    <a:pt x="60750" y="40500"/>
                  </a:lnTo>
                  <a:lnTo>
                    <a:pt x="60750" y="39375"/>
                  </a:lnTo>
                  <a:lnTo>
                    <a:pt x="61057" y="39886"/>
                  </a:lnTo>
                  <a:lnTo>
                    <a:pt x="62182" y="38864"/>
                  </a:lnTo>
                  <a:lnTo>
                    <a:pt x="62386" y="38455"/>
                  </a:lnTo>
                  <a:lnTo>
                    <a:pt x="62284" y="38250"/>
                  </a:lnTo>
                  <a:lnTo>
                    <a:pt x="62591" y="37636"/>
                  </a:lnTo>
                  <a:lnTo>
                    <a:pt x="62489" y="38148"/>
                  </a:lnTo>
                  <a:lnTo>
                    <a:pt x="64943" y="37125"/>
                  </a:lnTo>
                  <a:lnTo>
                    <a:pt x="65045" y="37227"/>
                  </a:lnTo>
                  <a:lnTo>
                    <a:pt x="65148" y="37125"/>
                  </a:lnTo>
                  <a:lnTo>
                    <a:pt x="65148" y="37125"/>
                  </a:lnTo>
                  <a:lnTo>
                    <a:pt x="65045" y="37432"/>
                  </a:lnTo>
                  <a:lnTo>
                    <a:pt x="65557" y="37227"/>
                  </a:lnTo>
                  <a:lnTo>
                    <a:pt x="65557" y="37227"/>
                  </a:lnTo>
                  <a:lnTo>
                    <a:pt x="65455" y="37330"/>
                  </a:lnTo>
                  <a:lnTo>
                    <a:pt x="66068" y="37227"/>
                  </a:lnTo>
                  <a:lnTo>
                    <a:pt x="65966" y="36818"/>
                  </a:lnTo>
                  <a:lnTo>
                    <a:pt x="65761" y="37125"/>
                  </a:lnTo>
                  <a:lnTo>
                    <a:pt x="65455" y="36614"/>
                  </a:lnTo>
                  <a:lnTo>
                    <a:pt x="66784" y="35080"/>
                  </a:lnTo>
                  <a:lnTo>
                    <a:pt x="66886" y="35182"/>
                  </a:lnTo>
                  <a:lnTo>
                    <a:pt x="66989" y="34977"/>
                  </a:lnTo>
                  <a:lnTo>
                    <a:pt x="66989" y="35080"/>
                  </a:lnTo>
                  <a:lnTo>
                    <a:pt x="67091" y="34875"/>
                  </a:lnTo>
                  <a:lnTo>
                    <a:pt x="67091" y="35080"/>
                  </a:lnTo>
                  <a:lnTo>
                    <a:pt x="67193" y="34977"/>
                  </a:lnTo>
                  <a:lnTo>
                    <a:pt x="68011" y="34364"/>
                  </a:lnTo>
                  <a:lnTo>
                    <a:pt x="68011" y="34466"/>
                  </a:lnTo>
                  <a:lnTo>
                    <a:pt x="67909" y="34568"/>
                  </a:lnTo>
                  <a:lnTo>
                    <a:pt x="68114" y="34670"/>
                  </a:lnTo>
                  <a:lnTo>
                    <a:pt x="68216" y="34364"/>
                  </a:lnTo>
                  <a:lnTo>
                    <a:pt x="68523" y="34568"/>
                  </a:lnTo>
                  <a:lnTo>
                    <a:pt x="69136" y="34261"/>
                  </a:lnTo>
                  <a:lnTo>
                    <a:pt x="69545" y="33648"/>
                  </a:lnTo>
                  <a:lnTo>
                    <a:pt x="70568" y="33443"/>
                  </a:lnTo>
                  <a:lnTo>
                    <a:pt x="70466" y="33545"/>
                  </a:lnTo>
                  <a:lnTo>
                    <a:pt x="71795" y="32932"/>
                  </a:lnTo>
                  <a:lnTo>
                    <a:pt x="72102" y="33034"/>
                  </a:lnTo>
                  <a:lnTo>
                    <a:pt x="71386" y="33443"/>
                  </a:lnTo>
                  <a:lnTo>
                    <a:pt x="72716" y="33443"/>
                  </a:lnTo>
                  <a:lnTo>
                    <a:pt x="71898" y="33852"/>
                  </a:lnTo>
                  <a:lnTo>
                    <a:pt x="71898" y="33545"/>
                  </a:lnTo>
                  <a:lnTo>
                    <a:pt x="71795" y="33545"/>
                  </a:lnTo>
                  <a:lnTo>
                    <a:pt x="70568" y="34261"/>
                  </a:lnTo>
                  <a:lnTo>
                    <a:pt x="70568" y="34261"/>
                  </a:lnTo>
                  <a:lnTo>
                    <a:pt x="70364" y="34364"/>
                  </a:lnTo>
                  <a:lnTo>
                    <a:pt x="69955" y="35182"/>
                  </a:lnTo>
                  <a:lnTo>
                    <a:pt x="70261" y="35386"/>
                  </a:lnTo>
                  <a:lnTo>
                    <a:pt x="71795" y="34364"/>
                  </a:lnTo>
                  <a:lnTo>
                    <a:pt x="71795" y="34466"/>
                  </a:lnTo>
                  <a:lnTo>
                    <a:pt x="71898" y="34261"/>
                  </a:lnTo>
                  <a:lnTo>
                    <a:pt x="74250" y="33648"/>
                  </a:lnTo>
                  <a:lnTo>
                    <a:pt x="74250" y="33443"/>
                  </a:lnTo>
                  <a:lnTo>
                    <a:pt x="74250" y="33136"/>
                  </a:lnTo>
                  <a:lnTo>
                    <a:pt x="73943" y="32932"/>
                  </a:lnTo>
                  <a:lnTo>
                    <a:pt x="73227" y="33239"/>
                  </a:lnTo>
                  <a:lnTo>
                    <a:pt x="73330" y="33136"/>
                  </a:lnTo>
                  <a:lnTo>
                    <a:pt x="72307" y="32830"/>
                  </a:lnTo>
                  <a:lnTo>
                    <a:pt x="72511" y="32727"/>
                  </a:lnTo>
                  <a:lnTo>
                    <a:pt x="72000" y="32420"/>
                  </a:lnTo>
                  <a:lnTo>
                    <a:pt x="72000" y="31807"/>
                  </a:lnTo>
                  <a:lnTo>
                    <a:pt x="71693" y="31705"/>
                  </a:lnTo>
                  <a:lnTo>
                    <a:pt x="72409" y="31091"/>
                  </a:lnTo>
                  <a:lnTo>
                    <a:pt x="72146" y="31003"/>
                  </a:lnTo>
                  <a:lnTo>
                    <a:pt x="72146" y="31003"/>
                  </a:lnTo>
                  <a:lnTo>
                    <a:pt x="71795" y="31091"/>
                  </a:lnTo>
                  <a:lnTo>
                    <a:pt x="70875" y="30784"/>
                  </a:lnTo>
                  <a:lnTo>
                    <a:pt x="72102" y="30784"/>
                  </a:lnTo>
                  <a:lnTo>
                    <a:pt x="72818" y="29966"/>
                  </a:lnTo>
                  <a:lnTo>
                    <a:pt x="70568" y="29966"/>
                  </a:lnTo>
                  <a:lnTo>
                    <a:pt x="63307" y="33852"/>
                  </a:lnTo>
                  <a:lnTo>
                    <a:pt x="63307" y="33852"/>
                  </a:lnTo>
                  <a:lnTo>
                    <a:pt x="68114" y="31091"/>
                  </a:lnTo>
                  <a:lnTo>
                    <a:pt x="67602" y="30375"/>
                  </a:lnTo>
                  <a:lnTo>
                    <a:pt x="79977" y="27205"/>
                  </a:lnTo>
                  <a:lnTo>
                    <a:pt x="80795" y="26489"/>
                  </a:lnTo>
                  <a:lnTo>
                    <a:pt x="80591" y="26284"/>
                  </a:lnTo>
                  <a:lnTo>
                    <a:pt x="81000" y="26080"/>
                  </a:lnTo>
                  <a:lnTo>
                    <a:pt x="81205" y="25466"/>
                  </a:lnTo>
                  <a:lnTo>
                    <a:pt x="80898" y="25159"/>
                  </a:lnTo>
                  <a:lnTo>
                    <a:pt x="80080" y="25364"/>
                  </a:lnTo>
                  <a:lnTo>
                    <a:pt x="79977" y="25261"/>
                  </a:lnTo>
                  <a:lnTo>
                    <a:pt x="80386" y="24852"/>
                  </a:lnTo>
                  <a:lnTo>
                    <a:pt x="79875" y="24750"/>
                  </a:lnTo>
                  <a:lnTo>
                    <a:pt x="77727" y="25568"/>
                  </a:lnTo>
                  <a:lnTo>
                    <a:pt x="78034" y="25364"/>
                  </a:lnTo>
                  <a:lnTo>
                    <a:pt x="77830" y="25261"/>
                  </a:lnTo>
                  <a:lnTo>
                    <a:pt x="80182" y="24545"/>
                  </a:lnTo>
                  <a:lnTo>
                    <a:pt x="80182" y="24034"/>
                  </a:lnTo>
                  <a:lnTo>
                    <a:pt x="79773" y="24136"/>
                  </a:lnTo>
                  <a:lnTo>
                    <a:pt x="79261" y="23727"/>
                  </a:lnTo>
                  <a:lnTo>
                    <a:pt x="78648" y="24034"/>
                  </a:lnTo>
                  <a:lnTo>
                    <a:pt x="79159" y="23727"/>
                  </a:lnTo>
                  <a:lnTo>
                    <a:pt x="78852" y="23625"/>
                  </a:lnTo>
                  <a:lnTo>
                    <a:pt x="78239" y="23830"/>
                  </a:lnTo>
                  <a:lnTo>
                    <a:pt x="78648" y="23523"/>
                  </a:lnTo>
                  <a:lnTo>
                    <a:pt x="78648" y="23114"/>
                  </a:lnTo>
                  <a:lnTo>
                    <a:pt x="78545" y="23216"/>
                  </a:lnTo>
                  <a:lnTo>
                    <a:pt x="78443" y="23011"/>
                  </a:lnTo>
                  <a:lnTo>
                    <a:pt x="77932" y="22909"/>
                  </a:lnTo>
                  <a:lnTo>
                    <a:pt x="78136" y="22705"/>
                  </a:lnTo>
                  <a:lnTo>
                    <a:pt x="77830" y="22705"/>
                  </a:lnTo>
                  <a:lnTo>
                    <a:pt x="78136" y="22602"/>
                  </a:lnTo>
                  <a:lnTo>
                    <a:pt x="77727" y="22500"/>
                  </a:lnTo>
                  <a:lnTo>
                    <a:pt x="77932" y="22398"/>
                  </a:lnTo>
                  <a:lnTo>
                    <a:pt x="77523" y="22193"/>
                  </a:lnTo>
                  <a:lnTo>
                    <a:pt x="78341" y="22091"/>
                  </a:lnTo>
                  <a:lnTo>
                    <a:pt x="77727" y="21477"/>
                  </a:lnTo>
                  <a:lnTo>
                    <a:pt x="78341" y="21170"/>
                  </a:lnTo>
                  <a:lnTo>
                    <a:pt x="78034" y="20864"/>
                  </a:lnTo>
                  <a:lnTo>
                    <a:pt x="77420" y="20966"/>
                  </a:lnTo>
                  <a:lnTo>
                    <a:pt x="77420" y="20966"/>
                  </a:lnTo>
                  <a:lnTo>
                    <a:pt x="78136" y="20557"/>
                  </a:lnTo>
                  <a:lnTo>
                    <a:pt x="77318" y="20659"/>
                  </a:lnTo>
                  <a:lnTo>
                    <a:pt x="77318" y="20659"/>
                  </a:lnTo>
                  <a:lnTo>
                    <a:pt x="77932" y="20455"/>
                  </a:lnTo>
                  <a:lnTo>
                    <a:pt x="77727" y="20148"/>
                  </a:lnTo>
                  <a:lnTo>
                    <a:pt x="77932" y="20045"/>
                  </a:lnTo>
                  <a:lnTo>
                    <a:pt x="77318" y="20045"/>
                  </a:lnTo>
                  <a:lnTo>
                    <a:pt x="77727" y="19943"/>
                  </a:lnTo>
                  <a:lnTo>
                    <a:pt x="77523" y="19636"/>
                  </a:lnTo>
                  <a:lnTo>
                    <a:pt x="77727" y="19534"/>
                  </a:lnTo>
                  <a:lnTo>
                    <a:pt x="77625" y="19330"/>
                  </a:lnTo>
                  <a:lnTo>
                    <a:pt x="77420" y="19330"/>
                  </a:lnTo>
                  <a:lnTo>
                    <a:pt x="77216" y="19125"/>
                  </a:lnTo>
                  <a:lnTo>
                    <a:pt x="77216" y="18818"/>
                  </a:lnTo>
                  <a:lnTo>
                    <a:pt x="76705" y="19739"/>
                  </a:lnTo>
                  <a:lnTo>
                    <a:pt x="76398" y="19739"/>
                  </a:lnTo>
                  <a:lnTo>
                    <a:pt x="76295" y="20045"/>
                  </a:lnTo>
                  <a:lnTo>
                    <a:pt x="75580" y="20557"/>
                  </a:lnTo>
                  <a:lnTo>
                    <a:pt x="75477" y="20250"/>
                  </a:lnTo>
                  <a:lnTo>
                    <a:pt x="74148" y="21068"/>
                  </a:lnTo>
                  <a:lnTo>
                    <a:pt x="74250" y="20659"/>
                  </a:lnTo>
                  <a:lnTo>
                    <a:pt x="73943" y="20864"/>
                  </a:lnTo>
                  <a:lnTo>
                    <a:pt x="73841" y="20761"/>
                  </a:lnTo>
                  <a:lnTo>
                    <a:pt x="73739" y="20761"/>
                  </a:lnTo>
                  <a:lnTo>
                    <a:pt x="73943" y="20250"/>
                  </a:lnTo>
                  <a:lnTo>
                    <a:pt x="72716" y="20250"/>
                  </a:lnTo>
                  <a:lnTo>
                    <a:pt x="73534" y="19739"/>
                  </a:lnTo>
                  <a:lnTo>
                    <a:pt x="73330" y="19739"/>
                  </a:lnTo>
                  <a:lnTo>
                    <a:pt x="73534" y="19330"/>
                  </a:lnTo>
                  <a:lnTo>
                    <a:pt x="72920" y="19125"/>
                  </a:lnTo>
                  <a:lnTo>
                    <a:pt x="73636" y="19023"/>
                  </a:lnTo>
                  <a:lnTo>
                    <a:pt x="74148" y="18102"/>
                  </a:lnTo>
                  <a:lnTo>
                    <a:pt x="74148" y="18102"/>
                  </a:lnTo>
                  <a:lnTo>
                    <a:pt x="73841" y="18307"/>
                  </a:lnTo>
                  <a:lnTo>
                    <a:pt x="72716" y="17795"/>
                  </a:lnTo>
                  <a:lnTo>
                    <a:pt x="73023" y="17591"/>
                  </a:lnTo>
                  <a:lnTo>
                    <a:pt x="72511" y="17591"/>
                  </a:lnTo>
                  <a:lnTo>
                    <a:pt x="72000" y="16875"/>
                  </a:lnTo>
                  <a:lnTo>
                    <a:pt x="70364" y="17080"/>
                  </a:lnTo>
                  <a:lnTo>
                    <a:pt x="70466" y="16977"/>
                  </a:lnTo>
                  <a:lnTo>
                    <a:pt x="68932" y="16875"/>
                  </a:lnTo>
                  <a:lnTo>
                    <a:pt x="68727" y="17693"/>
                  </a:lnTo>
                  <a:lnTo>
                    <a:pt x="67909" y="18307"/>
                  </a:lnTo>
                  <a:lnTo>
                    <a:pt x="68318" y="18307"/>
                  </a:lnTo>
                  <a:lnTo>
                    <a:pt x="67909" y="19023"/>
                  </a:lnTo>
                  <a:lnTo>
                    <a:pt x="68114" y="19125"/>
                  </a:lnTo>
                  <a:lnTo>
                    <a:pt x="66580" y="20250"/>
                  </a:lnTo>
                  <a:lnTo>
                    <a:pt x="67193" y="21784"/>
                  </a:lnTo>
                  <a:lnTo>
                    <a:pt x="63511" y="24239"/>
                  </a:lnTo>
                  <a:lnTo>
                    <a:pt x="63716" y="24750"/>
                  </a:lnTo>
                  <a:lnTo>
                    <a:pt x="63614" y="24750"/>
                  </a:lnTo>
                  <a:lnTo>
                    <a:pt x="63716" y="25057"/>
                  </a:lnTo>
                  <a:lnTo>
                    <a:pt x="63307" y="26591"/>
                  </a:lnTo>
                  <a:lnTo>
                    <a:pt x="62693" y="27000"/>
                  </a:lnTo>
                  <a:lnTo>
                    <a:pt x="62795" y="27307"/>
                  </a:lnTo>
                  <a:lnTo>
                    <a:pt x="62489" y="27614"/>
                  </a:lnTo>
                  <a:lnTo>
                    <a:pt x="62386" y="27205"/>
                  </a:lnTo>
                  <a:lnTo>
                    <a:pt x="61977" y="27511"/>
                  </a:lnTo>
                  <a:lnTo>
                    <a:pt x="61977" y="28023"/>
                  </a:lnTo>
                  <a:lnTo>
                    <a:pt x="60955" y="27716"/>
                  </a:lnTo>
                  <a:lnTo>
                    <a:pt x="61364" y="27000"/>
                  </a:lnTo>
                  <a:lnTo>
                    <a:pt x="60648" y="26591"/>
                  </a:lnTo>
                  <a:lnTo>
                    <a:pt x="61466" y="24341"/>
                  </a:lnTo>
                  <a:lnTo>
                    <a:pt x="60852" y="23625"/>
                  </a:lnTo>
                  <a:lnTo>
                    <a:pt x="59420" y="23830"/>
                  </a:lnTo>
                  <a:lnTo>
                    <a:pt x="59216" y="23216"/>
                  </a:lnTo>
                  <a:lnTo>
                    <a:pt x="57682" y="22091"/>
                  </a:lnTo>
                  <a:lnTo>
                    <a:pt x="55227" y="21989"/>
                  </a:lnTo>
                  <a:lnTo>
                    <a:pt x="55330" y="21886"/>
                  </a:lnTo>
                  <a:lnTo>
                    <a:pt x="54920" y="22091"/>
                  </a:lnTo>
                  <a:lnTo>
                    <a:pt x="55636" y="20761"/>
                  </a:lnTo>
                  <a:lnTo>
                    <a:pt x="55534" y="20250"/>
                  </a:lnTo>
                  <a:lnTo>
                    <a:pt x="54614" y="20761"/>
                  </a:lnTo>
                  <a:lnTo>
                    <a:pt x="54920" y="20352"/>
                  </a:lnTo>
                  <a:lnTo>
                    <a:pt x="54716" y="20045"/>
                  </a:lnTo>
                  <a:lnTo>
                    <a:pt x="57580" y="17489"/>
                  </a:lnTo>
                  <a:lnTo>
                    <a:pt x="57580" y="17284"/>
                  </a:lnTo>
                  <a:lnTo>
                    <a:pt x="58091" y="16875"/>
                  </a:lnTo>
                  <a:lnTo>
                    <a:pt x="58398" y="17080"/>
                  </a:lnTo>
                  <a:lnTo>
                    <a:pt x="58398" y="16875"/>
                  </a:lnTo>
                  <a:lnTo>
                    <a:pt x="59114" y="16670"/>
                  </a:lnTo>
                  <a:lnTo>
                    <a:pt x="59216" y="16466"/>
                  </a:lnTo>
                  <a:lnTo>
                    <a:pt x="60136" y="16364"/>
                  </a:lnTo>
                  <a:lnTo>
                    <a:pt x="60239" y="15852"/>
                  </a:lnTo>
                  <a:lnTo>
                    <a:pt x="59830" y="15648"/>
                  </a:lnTo>
                  <a:lnTo>
                    <a:pt x="59420" y="15852"/>
                  </a:lnTo>
                  <a:lnTo>
                    <a:pt x="59727" y="15648"/>
                  </a:lnTo>
                  <a:lnTo>
                    <a:pt x="59011" y="15443"/>
                  </a:lnTo>
                  <a:lnTo>
                    <a:pt x="58909" y="15239"/>
                  </a:lnTo>
                  <a:lnTo>
                    <a:pt x="59932" y="15545"/>
                  </a:lnTo>
                  <a:lnTo>
                    <a:pt x="59932" y="15648"/>
                  </a:lnTo>
                  <a:lnTo>
                    <a:pt x="64227" y="14318"/>
                  </a:lnTo>
                  <a:lnTo>
                    <a:pt x="61670" y="13602"/>
                  </a:lnTo>
                  <a:lnTo>
                    <a:pt x="62693" y="13705"/>
                  </a:lnTo>
                  <a:lnTo>
                    <a:pt x="64330" y="14114"/>
                  </a:lnTo>
                  <a:lnTo>
                    <a:pt x="65455" y="13602"/>
                  </a:lnTo>
                  <a:lnTo>
                    <a:pt x="65250" y="13193"/>
                  </a:lnTo>
                  <a:lnTo>
                    <a:pt x="66170" y="13091"/>
                  </a:lnTo>
                  <a:lnTo>
                    <a:pt x="66375" y="13398"/>
                  </a:lnTo>
                  <a:lnTo>
                    <a:pt x="66784" y="13295"/>
                  </a:lnTo>
                  <a:lnTo>
                    <a:pt x="67091" y="13091"/>
                  </a:lnTo>
                  <a:lnTo>
                    <a:pt x="66580" y="12784"/>
                  </a:lnTo>
                  <a:lnTo>
                    <a:pt x="66580" y="12784"/>
                  </a:lnTo>
                  <a:lnTo>
                    <a:pt x="67091" y="12886"/>
                  </a:lnTo>
                  <a:lnTo>
                    <a:pt x="67398" y="13295"/>
                  </a:lnTo>
                  <a:lnTo>
                    <a:pt x="69545" y="12273"/>
                  </a:lnTo>
                  <a:lnTo>
                    <a:pt x="69443" y="11659"/>
                  </a:lnTo>
                  <a:lnTo>
                    <a:pt x="69955" y="11045"/>
                  </a:lnTo>
                  <a:lnTo>
                    <a:pt x="70568" y="10841"/>
                  </a:lnTo>
                  <a:lnTo>
                    <a:pt x="69955" y="10739"/>
                  </a:lnTo>
                  <a:lnTo>
                    <a:pt x="69852" y="10534"/>
                  </a:lnTo>
                  <a:lnTo>
                    <a:pt x="70159" y="10432"/>
                  </a:lnTo>
                  <a:lnTo>
                    <a:pt x="68216" y="10227"/>
                  </a:lnTo>
                  <a:lnTo>
                    <a:pt x="67909" y="10739"/>
                  </a:lnTo>
                  <a:lnTo>
                    <a:pt x="68114" y="10943"/>
                  </a:lnTo>
                  <a:lnTo>
                    <a:pt x="67807" y="11045"/>
                  </a:lnTo>
                  <a:lnTo>
                    <a:pt x="68011" y="11148"/>
                  </a:lnTo>
                  <a:lnTo>
                    <a:pt x="65352" y="12580"/>
                  </a:lnTo>
                  <a:lnTo>
                    <a:pt x="65148" y="11761"/>
                  </a:lnTo>
                  <a:lnTo>
                    <a:pt x="65352" y="11557"/>
                  </a:lnTo>
                  <a:lnTo>
                    <a:pt x="65455" y="11557"/>
                  </a:lnTo>
                  <a:lnTo>
                    <a:pt x="65864" y="11045"/>
                  </a:lnTo>
                  <a:lnTo>
                    <a:pt x="64841" y="11045"/>
                  </a:lnTo>
                  <a:lnTo>
                    <a:pt x="64023" y="11557"/>
                  </a:lnTo>
                  <a:lnTo>
                    <a:pt x="64023" y="11557"/>
                  </a:lnTo>
                  <a:lnTo>
                    <a:pt x="64125" y="10739"/>
                  </a:lnTo>
                  <a:lnTo>
                    <a:pt x="64739" y="10534"/>
                  </a:lnTo>
                  <a:lnTo>
                    <a:pt x="64125" y="10534"/>
                  </a:lnTo>
                  <a:lnTo>
                    <a:pt x="64432" y="10432"/>
                  </a:lnTo>
                  <a:lnTo>
                    <a:pt x="63307" y="10330"/>
                  </a:lnTo>
                  <a:lnTo>
                    <a:pt x="64125" y="10023"/>
                  </a:lnTo>
                  <a:lnTo>
                    <a:pt x="63818" y="10023"/>
                  </a:lnTo>
                  <a:lnTo>
                    <a:pt x="64330" y="9920"/>
                  </a:lnTo>
                  <a:lnTo>
                    <a:pt x="64125" y="9409"/>
                  </a:lnTo>
                  <a:lnTo>
                    <a:pt x="64432" y="9000"/>
                  </a:lnTo>
                  <a:lnTo>
                    <a:pt x="64227" y="8591"/>
                  </a:lnTo>
                  <a:lnTo>
                    <a:pt x="63920" y="838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67" name="Shape 1556"/>
            <p:cNvSpPr/>
            <p:nvPr/>
          </p:nvSpPr>
          <p:spPr>
            <a:xfrm>
              <a:off x="2067527" y="1419687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FF000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68" name="Shape 1557"/>
            <p:cNvSpPr/>
            <p:nvPr/>
          </p:nvSpPr>
          <p:spPr>
            <a:xfrm>
              <a:off x="3783647" y="2957509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FF000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69" name="Shape 1558"/>
            <p:cNvSpPr/>
            <p:nvPr/>
          </p:nvSpPr>
          <p:spPr>
            <a:xfrm>
              <a:off x="4898012" y="1098686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FF000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70" name="Shape 1559"/>
            <p:cNvSpPr/>
            <p:nvPr/>
          </p:nvSpPr>
          <p:spPr>
            <a:xfrm>
              <a:off x="5678066" y="3336392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00B05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71" name="Shape 1560"/>
            <p:cNvSpPr/>
            <p:nvPr/>
          </p:nvSpPr>
          <p:spPr>
            <a:xfrm>
              <a:off x="7951368" y="1620272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00B05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72" name="Shape 1561"/>
            <p:cNvSpPr/>
            <p:nvPr/>
          </p:nvSpPr>
          <p:spPr>
            <a:xfrm>
              <a:off x="8720277" y="3436685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00B05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cxnSp>
          <p:nvCxnSpPr>
            <p:cNvPr id="73" name="Gerader Verbinder 72"/>
            <p:cNvCxnSpPr/>
            <p:nvPr/>
          </p:nvCxnSpPr>
          <p:spPr>
            <a:xfrm>
              <a:off x="2309786" y="1740682"/>
              <a:ext cx="1473861" cy="1216827"/>
            </a:xfrm>
            <a:prstGeom prst="line">
              <a:avLst/>
            </a:prstGeom>
            <a:ln w="25400">
              <a:solidFill>
                <a:srgbClr val="E2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/>
            <p:cNvCxnSpPr/>
            <p:nvPr/>
          </p:nvCxnSpPr>
          <p:spPr>
            <a:xfrm flipV="1">
              <a:off x="2419048" y="1257274"/>
              <a:ext cx="2342062" cy="292100"/>
            </a:xfrm>
            <a:prstGeom prst="line">
              <a:avLst/>
            </a:prstGeom>
            <a:ln w="25400">
              <a:solidFill>
                <a:srgbClr val="E2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/>
            <p:cNvCxnSpPr/>
            <p:nvPr/>
          </p:nvCxnSpPr>
          <p:spPr>
            <a:xfrm>
              <a:off x="4083076" y="3110833"/>
              <a:ext cx="1490790" cy="325852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/>
            <p:cNvCxnSpPr/>
            <p:nvPr/>
          </p:nvCxnSpPr>
          <p:spPr>
            <a:xfrm>
              <a:off x="5194986" y="1234027"/>
              <a:ext cx="2657065" cy="506655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/>
            <p:cNvCxnSpPr/>
            <p:nvPr/>
          </p:nvCxnSpPr>
          <p:spPr>
            <a:xfrm>
              <a:off x="6021272" y="3482059"/>
              <a:ext cx="2598058" cy="109812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/>
            <p:cNvCxnSpPr/>
            <p:nvPr/>
          </p:nvCxnSpPr>
          <p:spPr>
            <a:xfrm flipV="1">
              <a:off x="4018853" y="1419687"/>
              <a:ext cx="940195" cy="1528707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/>
            <p:cNvCxnSpPr/>
            <p:nvPr/>
          </p:nvCxnSpPr>
          <p:spPr>
            <a:xfrm flipH="1" flipV="1">
              <a:off x="5095669" y="1419681"/>
              <a:ext cx="639306" cy="1854079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/>
            <p:cNvCxnSpPr/>
            <p:nvPr/>
          </p:nvCxnSpPr>
          <p:spPr>
            <a:xfrm flipV="1">
              <a:off x="5971641" y="1941268"/>
              <a:ext cx="1984610" cy="1407664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/>
            <p:cNvCxnSpPr/>
            <p:nvPr/>
          </p:nvCxnSpPr>
          <p:spPr>
            <a:xfrm>
              <a:off x="8193627" y="1912427"/>
              <a:ext cx="647779" cy="1469352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2</a:t>
            </a:fld>
            <a:endParaRPr lang="de-DE" dirty="0"/>
          </a:p>
        </p:txBody>
      </p:sp>
      <p:sp>
        <p:nvSpPr>
          <p:cNvPr id="49" name="Shape 1555"/>
          <p:cNvSpPr/>
          <p:nvPr/>
        </p:nvSpPr>
        <p:spPr>
          <a:xfrm>
            <a:off x="7200448" y="3965650"/>
            <a:ext cx="1994809" cy="538139"/>
          </a:xfrm>
          <a:prstGeom prst="wedgeRectCallout">
            <a:avLst>
              <a:gd name="adj1" fmla="val 18058"/>
              <a:gd name="adj2" fmla="val -79317"/>
            </a:avLst>
          </a:prstGeom>
          <a:solidFill>
            <a:schemeClr val="tx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" sz="1200" dirty="0" smtClean="0">
                <a:solidFill>
                  <a:srgbClr val="FFFFFF"/>
                </a:solidFill>
                <a:latin typeface="Muli"/>
                <a:ea typeface="Muli"/>
                <a:cs typeface="Muli"/>
                <a:sym typeface="Muli"/>
              </a:rPr>
              <a:t>Lösung für Proof-of-Work gefunden (Block A)</a:t>
            </a:r>
            <a:endParaRPr lang="en" sz="1200" dirty="0">
              <a:solidFill>
                <a:srgbClr val="FFFFFF"/>
              </a:solidFill>
              <a:latin typeface="Muli"/>
              <a:ea typeface="Muli"/>
              <a:cs typeface="Muli"/>
              <a:sym typeface="Muli"/>
            </a:endParaRPr>
          </a:p>
        </p:txBody>
      </p:sp>
      <p:sp>
        <p:nvSpPr>
          <p:cNvPr id="52" name="Shape 1555"/>
          <p:cNvSpPr/>
          <p:nvPr/>
        </p:nvSpPr>
        <p:spPr>
          <a:xfrm>
            <a:off x="2472863" y="1036247"/>
            <a:ext cx="1994809" cy="507620"/>
          </a:xfrm>
          <a:prstGeom prst="wedgeRectCallout">
            <a:avLst>
              <a:gd name="adj1" fmla="val -31469"/>
              <a:gd name="adj2" fmla="val 79297"/>
            </a:avLst>
          </a:prstGeom>
          <a:solidFill>
            <a:schemeClr val="tx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" sz="1200" dirty="0" smtClean="0">
                <a:solidFill>
                  <a:srgbClr val="FFFFFF"/>
                </a:solidFill>
                <a:latin typeface="Muli"/>
                <a:ea typeface="Muli"/>
                <a:cs typeface="Muli"/>
                <a:sym typeface="Muli"/>
              </a:rPr>
              <a:t>Lösung für Proof-of-Work gefunden (Block B)</a:t>
            </a:r>
            <a:endParaRPr lang="en" sz="1200" dirty="0">
              <a:solidFill>
                <a:srgbClr val="FFFFFF"/>
              </a:solidFill>
              <a:latin typeface="Muli"/>
              <a:ea typeface="Muli"/>
              <a:cs typeface="Muli"/>
              <a:sym typeface="Muli"/>
            </a:endParaRPr>
          </a:p>
        </p:txBody>
      </p:sp>
      <p:sp>
        <p:nvSpPr>
          <p:cNvPr id="88" name="Rechteck 87"/>
          <p:cNvSpPr/>
          <p:nvPr/>
        </p:nvSpPr>
        <p:spPr bwMode="gray">
          <a:xfrm>
            <a:off x="2894422" y="4777695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89" name="Gerade Verbindung mit Pfeil 88"/>
          <p:cNvCxnSpPr/>
          <p:nvPr/>
        </p:nvCxnSpPr>
        <p:spPr>
          <a:xfrm>
            <a:off x="2715464" y="5115368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 bwMode="gray">
          <a:xfrm>
            <a:off x="3699715" y="4777695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</a:p>
        </p:txBody>
      </p:sp>
      <p:cxnSp>
        <p:nvCxnSpPr>
          <p:cNvPr id="91" name="Gerade Verbindung mit Pfeil 90"/>
          <p:cNvCxnSpPr/>
          <p:nvPr/>
        </p:nvCxnSpPr>
        <p:spPr>
          <a:xfrm>
            <a:off x="3520757" y="5112260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 bwMode="gray">
          <a:xfrm>
            <a:off x="4513936" y="4782159"/>
            <a:ext cx="626335" cy="676272"/>
          </a:xfrm>
          <a:prstGeom prst="rect">
            <a:avLst/>
          </a:prstGeom>
          <a:ln>
            <a:solidFill>
              <a:srgbClr val="FF000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B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>
            <a:off x="4334978" y="5116724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 bwMode="gray">
          <a:xfrm>
            <a:off x="6574113" y="4774124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6395155" y="5111797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7" name="Rechteck 96"/>
          <p:cNvSpPr/>
          <p:nvPr/>
        </p:nvSpPr>
        <p:spPr bwMode="gray">
          <a:xfrm>
            <a:off x="7379406" y="4774124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</a:p>
        </p:txBody>
      </p:sp>
      <p:cxnSp>
        <p:nvCxnSpPr>
          <p:cNvPr id="98" name="Gerade Verbindung mit Pfeil 97"/>
          <p:cNvCxnSpPr/>
          <p:nvPr/>
        </p:nvCxnSpPr>
        <p:spPr>
          <a:xfrm>
            <a:off x="7200448" y="5108689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 bwMode="gray">
          <a:xfrm>
            <a:off x="8193627" y="4778588"/>
            <a:ext cx="626335" cy="676272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A</a:t>
            </a:r>
          </a:p>
        </p:txBody>
      </p:sp>
      <p:cxnSp>
        <p:nvCxnSpPr>
          <p:cNvPr id="100" name="Gerade Verbindung mit Pfeil 99"/>
          <p:cNvCxnSpPr/>
          <p:nvPr/>
        </p:nvCxnSpPr>
        <p:spPr>
          <a:xfrm>
            <a:off x="8014669" y="5113153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41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3</a:t>
            </a:fld>
            <a:endParaRPr lang="de-DE" dirty="0"/>
          </a:p>
        </p:txBody>
      </p:sp>
      <p:sp>
        <p:nvSpPr>
          <p:cNvPr id="36" name="Rechteck 35"/>
          <p:cNvSpPr/>
          <p:nvPr/>
        </p:nvSpPr>
        <p:spPr bwMode="gray">
          <a:xfrm>
            <a:off x="2894422" y="4777695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40" name="Gerade Verbindung mit Pfeil 39"/>
          <p:cNvCxnSpPr/>
          <p:nvPr/>
        </p:nvCxnSpPr>
        <p:spPr>
          <a:xfrm>
            <a:off x="2715464" y="5115368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 bwMode="gray">
          <a:xfrm>
            <a:off x="3699715" y="4777695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>
            <a:off x="3520757" y="5112260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1" name="Rechteck 50"/>
          <p:cNvSpPr/>
          <p:nvPr/>
        </p:nvSpPr>
        <p:spPr bwMode="gray">
          <a:xfrm>
            <a:off x="4513936" y="4782159"/>
            <a:ext cx="626335" cy="676272"/>
          </a:xfrm>
          <a:prstGeom prst="rect">
            <a:avLst/>
          </a:prstGeom>
          <a:ln>
            <a:solidFill>
              <a:srgbClr val="FF000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B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>
            <a:off x="4334978" y="5116724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 bwMode="gray">
          <a:xfrm>
            <a:off x="6574113" y="4774124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59" name="Gerade Verbindung mit Pfeil 58"/>
          <p:cNvCxnSpPr/>
          <p:nvPr/>
        </p:nvCxnSpPr>
        <p:spPr>
          <a:xfrm>
            <a:off x="6395155" y="5111797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 bwMode="gray">
          <a:xfrm>
            <a:off x="7379406" y="4774124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</a:p>
        </p:txBody>
      </p:sp>
      <p:cxnSp>
        <p:nvCxnSpPr>
          <p:cNvPr id="62" name="Gerade Verbindung mit Pfeil 61"/>
          <p:cNvCxnSpPr/>
          <p:nvPr/>
        </p:nvCxnSpPr>
        <p:spPr>
          <a:xfrm>
            <a:off x="7200448" y="5108689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 bwMode="gray">
          <a:xfrm>
            <a:off x="8193627" y="4778588"/>
            <a:ext cx="626335" cy="676272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A</a:t>
            </a:r>
          </a:p>
        </p:txBody>
      </p:sp>
      <p:cxnSp>
        <p:nvCxnSpPr>
          <p:cNvPr id="65" name="Gerade Verbindung mit Pfeil 64"/>
          <p:cNvCxnSpPr/>
          <p:nvPr/>
        </p:nvCxnSpPr>
        <p:spPr>
          <a:xfrm>
            <a:off x="8014669" y="5113153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33" name="Gruppieren 32"/>
          <p:cNvGrpSpPr/>
          <p:nvPr/>
        </p:nvGrpSpPr>
        <p:grpSpPr>
          <a:xfrm>
            <a:off x="2088970" y="687863"/>
            <a:ext cx="7523090" cy="3583833"/>
            <a:chOff x="1332322" y="212607"/>
            <a:chExt cx="8717944" cy="4153036"/>
          </a:xfrm>
        </p:grpSpPr>
        <p:sp>
          <p:nvSpPr>
            <p:cNvPr id="34" name="Shape 1553"/>
            <p:cNvSpPr/>
            <p:nvPr/>
          </p:nvSpPr>
          <p:spPr>
            <a:xfrm>
              <a:off x="1332322" y="212607"/>
              <a:ext cx="8717944" cy="4153036"/>
            </a:xfrm>
            <a:custGeom>
              <a:avLst/>
              <a:gdLst/>
              <a:ahLst/>
              <a:cxnLst/>
              <a:rect l="0" t="0" r="0" b="0"/>
              <a:pathLst>
                <a:path w="285750" h="136125" extrusionOk="0">
                  <a:moveTo>
                    <a:pt x="74830" y="1313"/>
                  </a:moveTo>
                  <a:lnTo>
                    <a:pt x="74352" y="1330"/>
                  </a:lnTo>
                  <a:lnTo>
                    <a:pt x="74864" y="1330"/>
                  </a:lnTo>
                  <a:lnTo>
                    <a:pt x="74830" y="1313"/>
                  </a:lnTo>
                  <a:close/>
                  <a:moveTo>
                    <a:pt x="77830" y="1739"/>
                  </a:moveTo>
                  <a:lnTo>
                    <a:pt x="77830" y="1739"/>
                  </a:lnTo>
                  <a:lnTo>
                    <a:pt x="77830" y="1739"/>
                  </a:lnTo>
                  <a:close/>
                  <a:moveTo>
                    <a:pt x="176011" y="1432"/>
                  </a:moveTo>
                  <a:lnTo>
                    <a:pt x="176114" y="1636"/>
                  </a:lnTo>
                  <a:lnTo>
                    <a:pt x="175500" y="1841"/>
                  </a:lnTo>
                  <a:lnTo>
                    <a:pt x="175807" y="1943"/>
                  </a:lnTo>
                  <a:lnTo>
                    <a:pt x="178875" y="1943"/>
                  </a:lnTo>
                  <a:lnTo>
                    <a:pt x="178773" y="1636"/>
                  </a:lnTo>
                  <a:lnTo>
                    <a:pt x="176011" y="1432"/>
                  </a:lnTo>
                  <a:close/>
                  <a:moveTo>
                    <a:pt x="135102" y="1841"/>
                  </a:moveTo>
                  <a:lnTo>
                    <a:pt x="134898" y="1943"/>
                  </a:lnTo>
                  <a:lnTo>
                    <a:pt x="135102" y="2045"/>
                  </a:lnTo>
                  <a:lnTo>
                    <a:pt x="134489" y="2045"/>
                  </a:lnTo>
                  <a:lnTo>
                    <a:pt x="134795" y="2148"/>
                  </a:lnTo>
                  <a:lnTo>
                    <a:pt x="134489" y="2148"/>
                  </a:lnTo>
                  <a:lnTo>
                    <a:pt x="135920" y="2352"/>
                  </a:lnTo>
                  <a:lnTo>
                    <a:pt x="135307" y="2455"/>
                  </a:lnTo>
                  <a:lnTo>
                    <a:pt x="137148" y="2557"/>
                  </a:lnTo>
                  <a:lnTo>
                    <a:pt x="137148" y="2659"/>
                  </a:lnTo>
                  <a:lnTo>
                    <a:pt x="139500" y="2148"/>
                  </a:lnTo>
                  <a:lnTo>
                    <a:pt x="137148" y="2045"/>
                  </a:lnTo>
                  <a:lnTo>
                    <a:pt x="137250" y="1841"/>
                  </a:lnTo>
                  <a:lnTo>
                    <a:pt x="136739" y="1841"/>
                  </a:lnTo>
                  <a:lnTo>
                    <a:pt x="136739" y="2045"/>
                  </a:lnTo>
                  <a:lnTo>
                    <a:pt x="135102" y="1841"/>
                  </a:lnTo>
                  <a:close/>
                  <a:moveTo>
                    <a:pt x="178466" y="2045"/>
                  </a:moveTo>
                  <a:lnTo>
                    <a:pt x="177443" y="2148"/>
                  </a:lnTo>
                  <a:lnTo>
                    <a:pt x="177136" y="2455"/>
                  </a:lnTo>
                  <a:lnTo>
                    <a:pt x="181534" y="2864"/>
                  </a:lnTo>
                  <a:lnTo>
                    <a:pt x="181534" y="2864"/>
                  </a:lnTo>
                  <a:lnTo>
                    <a:pt x="180716" y="2659"/>
                  </a:lnTo>
                  <a:lnTo>
                    <a:pt x="181023" y="2659"/>
                  </a:lnTo>
                  <a:lnTo>
                    <a:pt x="180818" y="2250"/>
                  </a:lnTo>
                  <a:lnTo>
                    <a:pt x="178466" y="2045"/>
                  </a:lnTo>
                  <a:close/>
                  <a:moveTo>
                    <a:pt x="75068" y="3170"/>
                  </a:moveTo>
                  <a:lnTo>
                    <a:pt x="74870" y="3225"/>
                  </a:lnTo>
                  <a:lnTo>
                    <a:pt x="75022" y="3201"/>
                  </a:lnTo>
                  <a:lnTo>
                    <a:pt x="75022" y="3201"/>
                  </a:lnTo>
                  <a:lnTo>
                    <a:pt x="75068" y="3170"/>
                  </a:lnTo>
                  <a:close/>
                  <a:moveTo>
                    <a:pt x="72920" y="1227"/>
                  </a:moveTo>
                  <a:lnTo>
                    <a:pt x="72102" y="1330"/>
                  </a:lnTo>
                  <a:lnTo>
                    <a:pt x="72511" y="1330"/>
                  </a:lnTo>
                  <a:lnTo>
                    <a:pt x="70977" y="1534"/>
                  </a:lnTo>
                  <a:lnTo>
                    <a:pt x="71591" y="1739"/>
                  </a:lnTo>
                  <a:lnTo>
                    <a:pt x="70364" y="1739"/>
                  </a:lnTo>
                  <a:lnTo>
                    <a:pt x="70568" y="1841"/>
                  </a:lnTo>
                  <a:lnTo>
                    <a:pt x="70057" y="1943"/>
                  </a:lnTo>
                  <a:lnTo>
                    <a:pt x="71080" y="2045"/>
                  </a:lnTo>
                  <a:lnTo>
                    <a:pt x="69648" y="2045"/>
                  </a:lnTo>
                  <a:lnTo>
                    <a:pt x="69750" y="2352"/>
                  </a:lnTo>
                  <a:lnTo>
                    <a:pt x="70670" y="2352"/>
                  </a:lnTo>
                  <a:lnTo>
                    <a:pt x="69545" y="2557"/>
                  </a:lnTo>
                  <a:lnTo>
                    <a:pt x="70568" y="2557"/>
                  </a:lnTo>
                  <a:lnTo>
                    <a:pt x="70466" y="2659"/>
                  </a:lnTo>
                  <a:lnTo>
                    <a:pt x="72102" y="2557"/>
                  </a:lnTo>
                  <a:lnTo>
                    <a:pt x="70773" y="2761"/>
                  </a:lnTo>
                  <a:lnTo>
                    <a:pt x="70466" y="2966"/>
                  </a:lnTo>
                  <a:lnTo>
                    <a:pt x="70159" y="3068"/>
                  </a:lnTo>
                  <a:lnTo>
                    <a:pt x="70977" y="3170"/>
                  </a:lnTo>
                  <a:lnTo>
                    <a:pt x="70364" y="3273"/>
                  </a:lnTo>
                  <a:lnTo>
                    <a:pt x="72102" y="3477"/>
                  </a:lnTo>
                  <a:lnTo>
                    <a:pt x="72102" y="3170"/>
                  </a:lnTo>
                  <a:lnTo>
                    <a:pt x="72307" y="3273"/>
                  </a:lnTo>
                  <a:lnTo>
                    <a:pt x="73330" y="3170"/>
                  </a:lnTo>
                  <a:lnTo>
                    <a:pt x="73227" y="3068"/>
                  </a:lnTo>
                  <a:lnTo>
                    <a:pt x="73739" y="2864"/>
                  </a:lnTo>
                  <a:lnTo>
                    <a:pt x="73432" y="3068"/>
                  </a:lnTo>
                  <a:lnTo>
                    <a:pt x="75580" y="2557"/>
                  </a:lnTo>
                  <a:lnTo>
                    <a:pt x="74557" y="2455"/>
                  </a:lnTo>
                  <a:lnTo>
                    <a:pt x="74659" y="2045"/>
                  </a:lnTo>
                  <a:lnTo>
                    <a:pt x="74966" y="1841"/>
                  </a:lnTo>
                  <a:lnTo>
                    <a:pt x="74352" y="1943"/>
                  </a:lnTo>
                  <a:lnTo>
                    <a:pt x="74455" y="2045"/>
                  </a:lnTo>
                  <a:lnTo>
                    <a:pt x="73534" y="1739"/>
                  </a:lnTo>
                  <a:lnTo>
                    <a:pt x="73534" y="1636"/>
                  </a:lnTo>
                  <a:lnTo>
                    <a:pt x="72920" y="1227"/>
                  </a:lnTo>
                  <a:close/>
                  <a:moveTo>
                    <a:pt x="74870" y="3225"/>
                  </a:moveTo>
                  <a:lnTo>
                    <a:pt x="73227" y="3477"/>
                  </a:lnTo>
                  <a:lnTo>
                    <a:pt x="74301" y="3380"/>
                  </a:lnTo>
                  <a:lnTo>
                    <a:pt x="74301" y="3380"/>
                  </a:lnTo>
                  <a:lnTo>
                    <a:pt x="74870" y="3225"/>
                  </a:lnTo>
                  <a:close/>
                  <a:moveTo>
                    <a:pt x="74352" y="3375"/>
                  </a:moveTo>
                  <a:lnTo>
                    <a:pt x="74301" y="3380"/>
                  </a:lnTo>
                  <a:lnTo>
                    <a:pt x="74301" y="3380"/>
                  </a:lnTo>
                  <a:lnTo>
                    <a:pt x="73943" y="3477"/>
                  </a:lnTo>
                  <a:lnTo>
                    <a:pt x="74352" y="3375"/>
                  </a:lnTo>
                  <a:close/>
                  <a:moveTo>
                    <a:pt x="182148" y="2557"/>
                  </a:moveTo>
                  <a:lnTo>
                    <a:pt x="182250" y="2966"/>
                  </a:lnTo>
                  <a:lnTo>
                    <a:pt x="182148" y="3170"/>
                  </a:lnTo>
                  <a:lnTo>
                    <a:pt x="182045" y="3580"/>
                  </a:lnTo>
                  <a:lnTo>
                    <a:pt x="185114" y="3170"/>
                  </a:lnTo>
                  <a:lnTo>
                    <a:pt x="183682" y="2761"/>
                  </a:lnTo>
                  <a:lnTo>
                    <a:pt x="183170" y="2864"/>
                  </a:lnTo>
                  <a:lnTo>
                    <a:pt x="182966" y="2761"/>
                  </a:lnTo>
                  <a:lnTo>
                    <a:pt x="183068" y="2659"/>
                  </a:lnTo>
                  <a:lnTo>
                    <a:pt x="182455" y="2557"/>
                  </a:lnTo>
                  <a:lnTo>
                    <a:pt x="182455" y="2557"/>
                  </a:lnTo>
                  <a:lnTo>
                    <a:pt x="182557" y="2659"/>
                  </a:lnTo>
                  <a:lnTo>
                    <a:pt x="182148" y="2557"/>
                  </a:lnTo>
                  <a:close/>
                  <a:moveTo>
                    <a:pt x="64739" y="2557"/>
                  </a:moveTo>
                  <a:lnTo>
                    <a:pt x="63614" y="2864"/>
                  </a:lnTo>
                  <a:lnTo>
                    <a:pt x="64023" y="2864"/>
                  </a:lnTo>
                  <a:lnTo>
                    <a:pt x="63716" y="2966"/>
                  </a:lnTo>
                  <a:lnTo>
                    <a:pt x="63716" y="2966"/>
                  </a:lnTo>
                  <a:lnTo>
                    <a:pt x="64432" y="2864"/>
                  </a:lnTo>
                  <a:lnTo>
                    <a:pt x="64125" y="2966"/>
                  </a:lnTo>
                  <a:lnTo>
                    <a:pt x="64534" y="3068"/>
                  </a:lnTo>
                  <a:lnTo>
                    <a:pt x="64125" y="3068"/>
                  </a:lnTo>
                  <a:lnTo>
                    <a:pt x="64330" y="3170"/>
                  </a:lnTo>
                  <a:lnTo>
                    <a:pt x="63511" y="3375"/>
                  </a:lnTo>
                  <a:lnTo>
                    <a:pt x="65352" y="3477"/>
                  </a:lnTo>
                  <a:lnTo>
                    <a:pt x="65352" y="3580"/>
                  </a:lnTo>
                  <a:lnTo>
                    <a:pt x="66068" y="3682"/>
                  </a:lnTo>
                  <a:lnTo>
                    <a:pt x="66273" y="3375"/>
                  </a:lnTo>
                  <a:lnTo>
                    <a:pt x="66580" y="3170"/>
                  </a:lnTo>
                  <a:lnTo>
                    <a:pt x="65966" y="2966"/>
                  </a:lnTo>
                  <a:lnTo>
                    <a:pt x="66068" y="2864"/>
                  </a:lnTo>
                  <a:lnTo>
                    <a:pt x="65148" y="2966"/>
                  </a:lnTo>
                  <a:lnTo>
                    <a:pt x="65148" y="2864"/>
                  </a:lnTo>
                  <a:lnTo>
                    <a:pt x="64739" y="2557"/>
                  </a:lnTo>
                  <a:close/>
                  <a:moveTo>
                    <a:pt x="67705" y="2966"/>
                  </a:moveTo>
                  <a:lnTo>
                    <a:pt x="67295" y="3273"/>
                  </a:lnTo>
                  <a:lnTo>
                    <a:pt x="67705" y="3477"/>
                  </a:lnTo>
                  <a:lnTo>
                    <a:pt x="67398" y="3682"/>
                  </a:lnTo>
                  <a:lnTo>
                    <a:pt x="69136" y="3273"/>
                  </a:lnTo>
                  <a:lnTo>
                    <a:pt x="67705" y="2966"/>
                  </a:lnTo>
                  <a:close/>
                  <a:moveTo>
                    <a:pt x="136943" y="3170"/>
                  </a:moveTo>
                  <a:lnTo>
                    <a:pt x="135818" y="3273"/>
                  </a:lnTo>
                  <a:lnTo>
                    <a:pt x="136841" y="3682"/>
                  </a:lnTo>
                  <a:lnTo>
                    <a:pt x="136432" y="3886"/>
                  </a:lnTo>
                  <a:lnTo>
                    <a:pt x="137557" y="3886"/>
                  </a:lnTo>
                  <a:lnTo>
                    <a:pt x="137352" y="3989"/>
                  </a:lnTo>
                  <a:lnTo>
                    <a:pt x="137761" y="4091"/>
                  </a:lnTo>
                  <a:lnTo>
                    <a:pt x="138784" y="3784"/>
                  </a:lnTo>
                  <a:lnTo>
                    <a:pt x="137659" y="3477"/>
                  </a:lnTo>
                  <a:lnTo>
                    <a:pt x="137761" y="3477"/>
                  </a:lnTo>
                  <a:lnTo>
                    <a:pt x="137148" y="3375"/>
                  </a:lnTo>
                  <a:lnTo>
                    <a:pt x="136943" y="3170"/>
                  </a:lnTo>
                  <a:close/>
                  <a:moveTo>
                    <a:pt x="131114" y="2250"/>
                  </a:moveTo>
                  <a:lnTo>
                    <a:pt x="131114" y="2352"/>
                  </a:lnTo>
                  <a:lnTo>
                    <a:pt x="130295" y="2352"/>
                  </a:lnTo>
                  <a:lnTo>
                    <a:pt x="131318" y="2864"/>
                  </a:lnTo>
                  <a:lnTo>
                    <a:pt x="130705" y="2864"/>
                  </a:lnTo>
                  <a:lnTo>
                    <a:pt x="131625" y="3375"/>
                  </a:lnTo>
                  <a:lnTo>
                    <a:pt x="132648" y="3273"/>
                  </a:lnTo>
                  <a:lnTo>
                    <a:pt x="132545" y="3170"/>
                  </a:lnTo>
                  <a:lnTo>
                    <a:pt x="132545" y="3068"/>
                  </a:lnTo>
                  <a:lnTo>
                    <a:pt x="132955" y="3068"/>
                  </a:lnTo>
                  <a:lnTo>
                    <a:pt x="133261" y="3273"/>
                  </a:lnTo>
                  <a:lnTo>
                    <a:pt x="133875" y="3068"/>
                  </a:lnTo>
                  <a:lnTo>
                    <a:pt x="133670" y="3170"/>
                  </a:lnTo>
                  <a:lnTo>
                    <a:pt x="134080" y="3273"/>
                  </a:lnTo>
                  <a:lnTo>
                    <a:pt x="132443" y="3580"/>
                  </a:lnTo>
                  <a:lnTo>
                    <a:pt x="132750" y="3784"/>
                  </a:lnTo>
                  <a:lnTo>
                    <a:pt x="134080" y="3784"/>
                  </a:lnTo>
                  <a:lnTo>
                    <a:pt x="132545" y="4091"/>
                  </a:lnTo>
                  <a:lnTo>
                    <a:pt x="134284" y="4602"/>
                  </a:lnTo>
                  <a:lnTo>
                    <a:pt x="134386" y="4398"/>
                  </a:lnTo>
                  <a:lnTo>
                    <a:pt x="134284" y="4295"/>
                  </a:lnTo>
                  <a:lnTo>
                    <a:pt x="134898" y="3886"/>
                  </a:lnTo>
                  <a:lnTo>
                    <a:pt x="134898" y="3580"/>
                  </a:lnTo>
                  <a:lnTo>
                    <a:pt x="135205" y="3477"/>
                  </a:lnTo>
                  <a:lnTo>
                    <a:pt x="135511" y="3170"/>
                  </a:lnTo>
                  <a:lnTo>
                    <a:pt x="136432" y="3068"/>
                  </a:lnTo>
                  <a:lnTo>
                    <a:pt x="135920" y="2864"/>
                  </a:lnTo>
                  <a:lnTo>
                    <a:pt x="136023" y="2761"/>
                  </a:lnTo>
                  <a:lnTo>
                    <a:pt x="134795" y="2659"/>
                  </a:lnTo>
                  <a:lnTo>
                    <a:pt x="134795" y="2455"/>
                  </a:lnTo>
                  <a:lnTo>
                    <a:pt x="134182" y="2557"/>
                  </a:lnTo>
                  <a:lnTo>
                    <a:pt x="134386" y="2352"/>
                  </a:lnTo>
                  <a:lnTo>
                    <a:pt x="133261" y="2250"/>
                  </a:lnTo>
                  <a:lnTo>
                    <a:pt x="133261" y="2250"/>
                  </a:lnTo>
                  <a:lnTo>
                    <a:pt x="133568" y="2864"/>
                  </a:lnTo>
                  <a:lnTo>
                    <a:pt x="133568" y="2864"/>
                  </a:lnTo>
                  <a:lnTo>
                    <a:pt x="132750" y="2455"/>
                  </a:lnTo>
                  <a:lnTo>
                    <a:pt x="131318" y="2455"/>
                  </a:lnTo>
                  <a:lnTo>
                    <a:pt x="131932" y="2250"/>
                  </a:lnTo>
                  <a:close/>
                  <a:moveTo>
                    <a:pt x="66682" y="4398"/>
                  </a:moveTo>
                  <a:lnTo>
                    <a:pt x="66784" y="4500"/>
                  </a:lnTo>
                  <a:lnTo>
                    <a:pt x="66477" y="4500"/>
                  </a:lnTo>
                  <a:lnTo>
                    <a:pt x="67091" y="4705"/>
                  </a:lnTo>
                  <a:lnTo>
                    <a:pt x="66784" y="4705"/>
                  </a:lnTo>
                  <a:lnTo>
                    <a:pt x="68232" y="4795"/>
                  </a:lnTo>
                  <a:lnTo>
                    <a:pt x="68232" y="4795"/>
                  </a:lnTo>
                  <a:lnTo>
                    <a:pt x="68625" y="4500"/>
                  </a:lnTo>
                  <a:lnTo>
                    <a:pt x="66682" y="4398"/>
                  </a:lnTo>
                  <a:close/>
                  <a:moveTo>
                    <a:pt x="68232" y="4795"/>
                  </a:moveTo>
                  <a:lnTo>
                    <a:pt x="68216" y="4807"/>
                  </a:lnTo>
                  <a:lnTo>
                    <a:pt x="68324" y="4801"/>
                  </a:lnTo>
                  <a:lnTo>
                    <a:pt x="68324" y="4801"/>
                  </a:lnTo>
                  <a:lnTo>
                    <a:pt x="68232" y="4795"/>
                  </a:lnTo>
                  <a:close/>
                  <a:moveTo>
                    <a:pt x="71489" y="4500"/>
                  </a:moveTo>
                  <a:lnTo>
                    <a:pt x="70568" y="4705"/>
                  </a:lnTo>
                  <a:lnTo>
                    <a:pt x="71080" y="4807"/>
                  </a:lnTo>
                  <a:lnTo>
                    <a:pt x="71489" y="4500"/>
                  </a:lnTo>
                  <a:close/>
                  <a:moveTo>
                    <a:pt x="81102" y="205"/>
                  </a:moveTo>
                  <a:lnTo>
                    <a:pt x="81614" y="409"/>
                  </a:lnTo>
                  <a:lnTo>
                    <a:pt x="80386" y="307"/>
                  </a:lnTo>
                  <a:lnTo>
                    <a:pt x="80489" y="409"/>
                  </a:lnTo>
                  <a:lnTo>
                    <a:pt x="79773" y="409"/>
                  </a:lnTo>
                  <a:lnTo>
                    <a:pt x="79977" y="511"/>
                  </a:lnTo>
                  <a:lnTo>
                    <a:pt x="79466" y="511"/>
                  </a:lnTo>
                  <a:lnTo>
                    <a:pt x="80693" y="920"/>
                  </a:lnTo>
                  <a:lnTo>
                    <a:pt x="80693" y="920"/>
                  </a:lnTo>
                  <a:lnTo>
                    <a:pt x="79159" y="716"/>
                  </a:lnTo>
                  <a:lnTo>
                    <a:pt x="77011" y="716"/>
                  </a:lnTo>
                  <a:lnTo>
                    <a:pt x="77727" y="818"/>
                  </a:lnTo>
                  <a:lnTo>
                    <a:pt x="73841" y="1023"/>
                  </a:lnTo>
                  <a:lnTo>
                    <a:pt x="73943" y="1125"/>
                  </a:lnTo>
                  <a:lnTo>
                    <a:pt x="74864" y="1023"/>
                  </a:lnTo>
                  <a:lnTo>
                    <a:pt x="74864" y="1023"/>
                  </a:lnTo>
                  <a:lnTo>
                    <a:pt x="74250" y="1125"/>
                  </a:lnTo>
                  <a:lnTo>
                    <a:pt x="75989" y="1125"/>
                  </a:lnTo>
                  <a:lnTo>
                    <a:pt x="74659" y="1227"/>
                  </a:lnTo>
                  <a:lnTo>
                    <a:pt x="74830" y="1313"/>
                  </a:lnTo>
                  <a:lnTo>
                    <a:pt x="74830" y="1313"/>
                  </a:lnTo>
                  <a:lnTo>
                    <a:pt x="77216" y="1227"/>
                  </a:lnTo>
                  <a:lnTo>
                    <a:pt x="74557" y="1534"/>
                  </a:lnTo>
                  <a:lnTo>
                    <a:pt x="74557" y="1534"/>
                  </a:lnTo>
                  <a:lnTo>
                    <a:pt x="78034" y="1330"/>
                  </a:lnTo>
                  <a:lnTo>
                    <a:pt x="75784" y="1739"/>
                  </a:lnTo>
                  <a:lnTo>
                    <a:pt x="75784" y="1739"/>
                  </a:lnTo>
                  <a:lnTo>
                    <a:pt x="78341" y="1636"/>
                  </a:lnTo>
                  <a:lnTo>
                    <a:pt x="78341" y="1636"/>
                  </a:lnTo>
                  <a:lnTo>
                    <a:pt x="77830" y="1739"/>
                  </a:lnTo>
                  <a:lnTo>
                    <a:pt x="81818" y="1125"/>
                  </a:lnTo>
                  <a:lnTo>
                    <a:pt x="81818" y="1125"/>
                  </a:lnTo>
                  <a:lnTo>
                    <a:pt x="80386" y="1534"/>
                  </a:lnTo>
                  <a:lnTo>
                    <a:pt x="81409" y="1534"/>
                  </a:lnTo>
                  <a:lnTo>
                    <a:pt x="77523" y="1943"/>
                  </a:lnTo>
                  <a:lnTo>
                    <a:pt x="78648" y="2352"/>
                  </a:lnTo>
                  <a:lnTo>
                    <a:pt x="78648" y="2352"/>
                  </a:lnTo>
                  <a:lnTo>
                    <a:pt x="75375" y="2045"/>
                  </a:lnTo>
                  <a:lnTo>
                    <a:pt x="75375" y="2352"/>
                  </a:lnTo>
                  <a:lnTo>
                    <a:pt x="76193" y="2761"/>
                  </a:lnTo>
                  <a:lnTo>
                    <a:pt x="75682" y="2761"/>
                  </a:lnTo>
                  <a:lnTo>
                    <a:pt x="77216" y="2864"/>
                  </a:lnTo>
                  <a:lnTo>
                    <a:pt x="75022" y="3201"/>
                  </a:lnTo>
                  <a:lnTo>
                    <a:pt x="75022" y="3201"/>
                  </a:lnTo>
                  <a:lnTo>
                    <a:pt x="74761" y="3375"/>
                  </a:lnTo>
                  <a:lnTo>
                    <a:pt x="75170" y="3477"/>
                  </a:lnTo>
                  <a:lnTo>
                    <a:pt x="74148" y="3682"/>
                  </a:lnTo>
                  <a:lnTo>
                    <a:pt x="74045" y="3886"/>
                  </a:lnTo>
                  <a:lnTo>
                    <a:pt x="75989" y="3580"/>
                  </a:lnTo>
                  <a:lnTo>
                    <a:pt x="73739" y="3989"/>
                  </a:lnTo>
                  <a:lnTo>
                    <a:pt x="73432" y="3682"/>
                  </a:lnTo>
                  <a:lnTo>
                    <a:pt x="72716" y="3682"/>
                  </a:lnTo>
                  <a:lnTo>
                    <a:pt x="72818" y="4193"/>
                  </a:lnTo>
                  <a:lnTo>
                    <a:pt x="71489" y="4500"/>
                  </a:lnTo>
                  <a:lnTo>
                    <a:pt x="71489" y="4500"/>
                  </a:lnTo>
                  <a:lnTo>
                    <a:pt x="71489" y="4500"/>
                  </a:lnTo>
                  <a:lnTo>
                    <a:pt x="71284" y="4807"/>
                  </a:lnTo>
                  <a:lnTo>
                    <a:pt x="71898" y="4705"/>
                  </a:lnTo>
                  <a:lnTo>
                    <a:pt x="71898" y="4807"/>
                  </a:lnTo>
                  <a:lnTo>
                    <a:pt x="75784" y="4807"/>
                  </a:lnTo>
                  <a:lnTo>
                    <a:pt x="75477" y="5011"/>
                  </a:lnTo>
                  <a:lnTo>
                    <a:pt x="75477" y="5011"/>
                  </a:lnTo>
                  <a:lnTo>
                    <a:pt x="77318" y="4705"/>
                  </a:lnTo>
                  <a:lnTo>
                    <a:pt x="77727" y="4398"/>
                  </a:lnTo>
                  <a:lnTo>
                    <a:pt x="77114" y="4398"/>
                  </a:lnTo>
                  <a:lnTo>
                    <a:pt x="77216" y="4193"/>
                  </a:lnTo>
                  <a:lnTo>
                    <a:pt x="75682" y="4091"/>
                  </a:lnTo>
                  <a:lnTo>
                    <a:pt x="76193" y="4091"/>
                  </a:lnTo>
                  <a:lnTo>
                    <a:pt x="76091" y="3989"/>
                  </a:lnTo>
                  <a:lnTo>
                    <a:pt x="78341" y="3886"/>
                  </a:lnTo>
                  <a:lnTo>
                    <a:pt x="78545" y="3580"/>
                  </a:lnTo>
                  <a:lnTo>
                    <a:pt x="80489" y="3375"/>
                  </a:lnTo>
                  <a:lnTo>
                    <a:pt x="79977" y="3170"/>
                  </a:lnTo>
                  <a:lnTo>
                    <a:pt x="81205" y="3068"/>
                  </a:lnTo>
                  <a:lnTo>
                    <a:pt x="79159" y="2761"/>
                  </a:lnTo>
                  <a:lnTo>
                    <a:pt x="81614" y="2659"/>
                  </a:lnTo>
                  <a:lnTo>
                    <a:pt x="80386" y="2455"/>
                  </a:lnTo>
                  <a:lnTo>
                    <a:pt x="82534" y="2352"/>
                  </a:lnTo>
                  <a:lnTo>
                    <a:pt x="81920" y="2250"/>
                  </a:lnTo>
                  <a:lnTo>
                    <a:pt x="83966" y="2250"/>
                  </a:lnTo>
                  <a:lnTo>
                    <a:pt x="83864" y="2148"/>
                  </a:lnTo>
                  <a:lnTo>
                    <a:pt x="84375" y="2045"/>
                  </a:lnTo>
                  <a:lnTo>
                    <a:pt x="83557" y="2045"/>
                  </a:lnTo>
                  <a:lnTo>
                    <a:pt x="84682" y="1943"/>
                  </a:lnTo>
                  <a:lnTo>
                    <a:pt x="84580" y="1739"/>
                  </a:lnTo>
                  <a:lnTo>
                    <a:pt x="88466" y="1125"/>
                  </a:lnTo>
                  <a:lnTo>
                    <a:pt x="86216" y="1330"/>
                  </a:lnTo>
                  <a:lnTo>
                    <a:pt x="90920" y="614"/>
                  </a:lnTo>
                  <a:lnTo>
                    <a:pt x="89898" y="511"/>
                  </a:lnTo>
                  <a:lnTo>
                    <a:pt x="90000" y="409"/>
                  </a:lnTo>
                  <a:lnTo>
                    <a:pt x="89795" y="409"/>
                  </a:lnTo>
                  <a:lnTo>
                    <a:pt x="89898" y="307"/>
                  </a:lnTo>
                  <a:lnTo>
                    <a:pt x="89898" y="307"/>
                  </a:lnTo>
                  <a:lnTo>
                    <a:pt x="87136" y="409"/>
                  </a:lnTo>
                  <a:lnTo>
                    <a:pt x="88466" y="205"/>
                  </a:lnTo>
                  <a:lnTo>
                    <a:pt x="84682" y="205"/>
                  </a:lnTo>
                  <a:lnTo>
                    <a:pt x="84989" y="409"/>
                  </a:lnTo>
                  <a:lnTo>
                    <a:pt x="82739" y="205"/>
                  </a:lnTo>
                  <a:lnTo>
                    <a:pt x="83352" y="409"/>
                  </a:lnTo>
                  <a:lnTo>
                    <a:pt x="83352" y="409"/>
                  </a:lnTo>
                  <a:lnTo>
                    <a:pt x="81102" y="205"/>
                  </a:lnTo>
                  <a:close/>
                  <a:moveTo>
                    <a:pt x="62898" y="4909"/>
                  </a:moveTo>
                  <a:lnTo>
                    <a:pt x="63205" y="5011"/>
                  </a:lnTo>
                  <a:lnTo>
                    <a:pt x="63205" y="4909"/>
                  </a:lnTo>
                  <a:close/>
                  <a:moveTo>
                    <a:pt x="55227" y="3989"/>
                  </a:moveTo>
                  <a:lnTo>
                    <a:pt x="55330" y="4091"/>
                  </a:lnTo>
                  <a:lnTo>
                    <a:pt x="50318" y="5011"/>
                  </a:lnTo>
                  <a:lnTo>
                    <a:pt x="50523" y="5011"/>
                  </a:lnTo>
                  <a:lnTo>
                    <a:pt x="50318" y="5216"/>
                  </a:lnTo>
                  <a:lnTo>
                    <a:pt x="50318" y="5216"/>
                  </a:lnTo>
                  <a:lnTo>
                    <a:pt x="51545" y="5011"/>
                  </a:lnTo>
                  <a:lnTo>
                    <a:pt x="51443" y="5318"/>
                  </a:lnTo>
                  <a:lnTo>
                    <a:pt x="54102" y="4500"/>
                  </a:lnTo>
                  <a:lnTo>
                    <a:pt x="53591" y="4909"/>
                  </a:lnTo>
                  <a:lnTo>
                    <a:pt x="53591" y="4909"/>
                  </a:lnTo>
                  <a:lnTo>
                    <a:pt x="56045" y="4091"/>
                  </a:lnTo>
                  <a:lnTo>
                    <a:pt x="55227" y="3989"/>
                  </a:lnTo>
                  <a:close/>
                  <a:moveTo>
                    <a:pt x="65761" y="4705"/>
                  </a:moveTo>
                  <a:lnTo>
                    <a:pt x="63818" y="4807"/>
                  </a:lnTo>
                  <a:lnTo>
                    <a:pt x="64227" y="4909"/>
                  </a:lnTo>
                  <a:lnTo>
                    <a:pt x="63920" y="4909"/>
                  </a:lnTo>
                  <a:lnTo>
                    <a:pt x="64330" y="5011"/>
                  </a:lnTo>
                  <a:lnTo>
                    <a:pt x="64023" y="5216"/>
                  </a:lnTo>
                  <a:lnTo>
                    <a:pt x="63205" y="5011"/>
                  </a:lnTo>
                  <a:lnTo>
                    <a:pt x="62898" y="5114"/>
                  </a:lnTo>
                  <a:lnTo>
                    <a:pt x="63000" y="5114"/>
                  </a:lnTo>
                  <a:lnTo>
                    <a:pt x="63102" y="5318"/>
                  </a:lnTo>
                  <a:lnTo>
                    <a:pt x="63102" y="5318"/>
                  </a:lnTo>
                  <a:lnTo>
                    <a:pt x="62489" y="5216"/>
                  </a:lnTo>
                  <a:lnTo>
                    <a:pt x="61875" y="5420"/>
                  </a:lnTo>
                  <a:lnTo>
                    <a:pt x="64125" y="5420"/>
                  </a:lnTo>
                  <a:lnTo>
                    <a:pt x="62898" y="5625"/>
                  </a:lnTo>
                  <a:lnTo>
                    <a:pt x="63102" y="5727"/>
                  </a:lnTo>
                  <a:lnTo>
                    <a:pt x="63000" y="5932"/>
                  </a:lnTo>
                  <a:lnTo>
                    <a:pt x="63000" y="5932"/>
                  </a:lnTo>
                  <a:lnTo>
                    <a:pt x="65148" y="5420"/>
                  </a:lnTo>
                  <a:lnTo>
                    <a:pt x="64943" y="5318"/>
                  </a:lnTo>
                  <a:lnTo>
                    <a:pt x="65761" y="4705"/>
                  </a:lnTo>
                  <a:close/>
                  <a:moveTo>
                    <a:pt x="209148" y="5011"/>
                  </a:moveTo>
                  <a:lnTo>
                    <a:pt x="209455" y="5420"/>
                  </a:lnTo>
                  <a:lnTo>
                    <a:pt x="207102" y="5216"/>
                  </a:lnTo>
                  <a:lnTo>
                    <a:pt x="207409" y="5318"/>
                  </a:lnTo>
                  <a:lnTo>
                    <a:pt x="207205" y="5318"/>
                  </a:lnTo>
                  <a:lnTo>
                    <a:pt x="207716" y="5625"/>
                  </a:lnTo>
                  <a:lnTo>
                    <a:pt x="207511" y="5625"/>
                  </a:lnTo>
                  <a:lnTo>
                    <a:pt x="211705" y="5932"/>
                  </a:lnTo>
                  <a:lnTo>
                    <a:pt x="210170" y="5420"/>
                  </a:lnTo>
                  <a:lnTo>
                    <a:pt x="210170" y="5420"/>
                  </a:lnTo>
                  <a:lnTo>
                    <a:pt x="212420" y="5727"/>
                  </a:lnTo>
                  <a:lnTo>
                    <a:pt x="212318" y="5523"/>
                  </a:lnTo>
                  <a:lnTo>
                    <a:pt x="209148" y="5011"/>
                  </a:lnTo>
                  <a:close/>
                  <a:moveTo>
                    <a:pt x="65148" y="5932"/>
                  </a:moveTo>
                  <a:lnTo>
                    <a:pt x="65966" y="6239"/>
                  </a:lnTo>
                  <a:lnTo>
                    <a:pt x="66989" y="5932"/>
                  </a:lnTo>
                  <a:close/>
                  <a:moveTo>
                    <a:pt x="59523" y="4500"/>
                  </a:moveTo>
                  <a:lnTo>
                    <a:pt x="58193" y="4807"/>
                  </a:lnTo>
                  <a:lnTo>
                    <a:pt x="58295" y="5011"/>
                  </a:lnTo>
                  <a:lnTo>
                    <a:pt x="57886" y="5216"/>
                  </a:lnTo>
                  <a:lnTo>
                    <a:pt x="58193" y="5420"/>
                  </a:lnTo>
                  <a:lnTo>
                    <a:pt x="56455" y="5216"/>
                  </a:lnTo>
                  <a:lnTo>
                    <a:pt x="56659" y="5216"/>
                  </a:lnTo>
                  <a:lnTo>
                    <a:pt x="55739" y="4909"/>
                  </a:lnTo>
                  <a:lnTo>
                    <a:pt x="55841" y="4807"/>
                  </a:lnTo>
                  <a:lnTo>
                    <a:pt x="54716" y="4909"/>
                  </a:lnTo>
                  <a:lnTo>
                    <a:pt x="55227" y="5011"/>
                  </a:lnTo>
                  <a:lnTo>
                    <a:pt x="53795" y="5216"/>
                  </a:lnTo>
                  <a:lnTo>
                    <a:pt x="54818" y="5216"/>
                  </a:lnTo>
                  <a:lnTo>
                    <a:pt x="53182" y="5420"/>
                  </a:lnTo>
                  <a:lnTo>
                    <a:pt x="54511" y="5318"/>
                  </a:lnTo>
                  <a:lnTo>
                    <a:pt x="52466" y="5727"/>
                  </a:lnTo>
                  <a:lnTo>
                    <a:pt x="53386" y="5932"/>
                  </a:lnTo>
                  <a:lnTo>
                    <a:pt x="53693" y="5830"/>
                  </a:lnTo>
                  <a:lnTo>
                    <a:pt x="53898" y="5932"/>
                  </a:lnTo>
                  <a:lnTo>
                    <a:pt x="54307" y="5830"/>
                  </a:lnTo>
                  <a:lnTo>
                    <a:pt x="54409" y="5727"/>
                  </a:lnTo>
                  <a:lnTo>
                    <a:pt x="55227" y="5625"/>
                  </a:lnTo>
                  <a:lnTo>
                    <a:pt x="54614" y="5830"/>
                  </a:lnTo>
                  <a:lnTo>
                    <a:pt x="56455" y="5727"/>
                  </a:lnTo>
                  <a:lnTo>
                    <a:pt x="56455" y="5727"/>
                  </a:lnTo>
                  <a:lnTo>
                    <a:pt x="54102" y="6136"/>
                  </a:lnTo>
                  <a:lnTo>
                    <a:pt x="54102" y="6341"/>
                  </a:lnTo>
                  <a:lnTo>
                    <a:pt x="57784" y="5932"/>
                  </a:lnTo>
                  <a:lnTo>
                    <a:pt x="57682" y="5932"/>
                  </a:lnTo>
                  <a:lnTo>
                    <a:pt x="59625" y="5727"/>
                  </a:lnTo>
                  <a:lnTo>
                    <a:pt x="60443" y="5114"/>
                  </a:lnTo>
                  <a:lnTo>
                    <a:pt x="58909" y="5318"/>
                  </a:lnTo>
                  <a:lnTo>
                    <a:pt x="59216" y="5114"/>
                  </a:lnTo>
                  <a:lnTo>
                    <a:pt x="58909" y="5114"/>
                  </a:lnTo>
                  <a:lnTo>
                    <a:pt x="59523" y="4500"/>
                  </a:lnTo>
                  <a:close/>
                  <a:moveTo>
                    <a:pt x="70057" y="4705"/>
                  </a:moveTo>
                  <a:lnTo>
                    <a:pt x="68324" y="4801"/>
                  </a:lnTo>
                  <a:lnTo>
                    <a:pt x="68324" y="4801"/>
                  </a:lnTo>
                  <a:lnTo>
                    <a:pt x="68420" y="4807"/>
                  </a:lnTo>
                  <a:lnTo>
                    <a:pt x="68420" y="5318"/>
                  </a:lnTo>
                  <a:lnTo>
                    <a:pt x="67909" y="5625"/>
                  </a:lnTo>
                  <a:lnTo>
                    <a:pt x="67807" y="5830"/>
                  </a:lnTo>
                  <a:lnTo>
                    <a:pt x="68420" y="6034"/>
                  </a:lnTo>
                  <a:lnTo>
                    <a:pt x="68318" y="6136"/>
                  </a:lnTo>
                  <a:lnTo>
                    <a:pt x="69955" y="6136"/>
                  </a:lnTo>
                  <a:lnTo>
                    <a:pt x="69648" y="6341"/>
                  </a:lnTo>
                  <a:lnTo>
                    <a:pt x="75580" y="6034"/>
                  </a:lnTo>
                  <a:lnTo>
                    <a:pt x="75068" y="5932"/>
                  </a:lnTo>
                  <a:lnTo>
                    <a:pt x="75580" y="5523"/>
                  </a:lnTo>
                  <a:lnTo>
                    <a:pt x="74966" y="5420"/>
                  </a:lnTo>
                  <a:lnTo>
                    <a:pt x="75068" y="5318"/>
                  </a:lnTo>
                  <a:lnTo>
                    <a:pt x="71898" y="5523"/>
                  </a:lnTo>
                  <a:lnTo>
                    <a:pt x="72000" y="5625"/>
                  </a:lnTo>
                  <a:lnTo>
                    <a:pt x="70261" y="5420"/>
                  </a:lnTo>
                  <a:lnTo>
                    <a:pt x="70159" y="5523"/>
                  </a:lnTo>
                  <a:lnTo>
                    <a:pt x="69750" y="5523"/>
                  </a:lnTo>
                  <a:lnTo>
                    <a:pt x="70261" y="5318"/>
                  </a:lnTo>
                  <a:lnTo>
                    <a:pt x="69239" y="4909"/>
                  </a:lnTo>
                  <a:lnTo>
                    <a:pt x="70568" y="4909"/>
                  </a:lnTo>
                  <a:lnTo>
                    <a:pt x="69443" y="4807"/>
                  </a:lnTo>
                  <a:lnTo>
                    <a:pt x="70057" y="4705"/>
                  </a:lnTo>
                  <a:close/>
                  <a:moveTo>
                    <a:pt x="165273" y="4705"/>
                  </a:moveTo>
                  <a:lnTo>
                    <a:pt x="160773" y="4909"/>
                  </a:lnTo>
                  <a:lnTo>
                    <a:pt x="160875" y="5011"/>
                  </a:lnTo>
                  <a:lnTo>
                    <a:pt x="160364" y="5114"/>
                  </a:lnTo>
                  <a:lnTo>
                    <a:pt x="159341" y="5420"/>
                  </a:lnTo>
                  <a:lnTo>
                    <a:pt x="158727" y="5625"/>
                  </a:lnTo>
                  <a:lnTo>
                    <a:pt x="158830" y="5727"/>
                  </a:lnTo>
                  <a:lnTo>
                    <a:pt x="158216" y="5830"/>
                  </a:lnTo>
                  <a:lnTo>
                    <a:pt x="158727" y="5932"/>
                  </a:lnTo>
                  <a:lnTo>
                    <a:pt x="158318" y="6239"/>
                  </a:lnTo>
                  <a:lnTo>
                    <a:pt x="158727" y="6341"/>
                  </a:lnTo>
                  <a:lnTo>
                    <a:pt x="158318" y="6443"/>
                  </a:lnTo>
                  <a:lnTo>
                    <a:pt x="158114" y="6648"/>
                  </a:lnTo>
                  <a:lnTo>
                    <a:pt x="157602" y="6955"/>
                  </a:lnTo>
                  <a:lnTo>
                    <a:pt x="158114" y="7261"/>
                  </a:lnTo>
                  <a:lnTo>
                    <a:pt x="160057" y="7057"/>
                  </a:lnTo>
                  <a:lnTo>
                    <a:pt x="159750" y="6852"/>
                  </a:lnTo>
                  <a:lnTo>
                    <a:pt x="160159" y="6341"/>
                  </a:lnTo>
                  <a:lnTo>
                    <a:pt x="160875" y="6239"/>
                  </a:lnTo>
                  <a:lnTo>
                    <a:pt x="160875" y="6136"/>
                  </a:lnTo>
                  <a:lnTo>
                    <a:pt x="161182" y="6034"/>
                  </a:lnTo>
                  <a:lnTo>
                    <a:pt x="160977" y="5932"/>
                  </a:lnTo>
                  <a:lnTo>
                    <a:pt x="165273" y="4705"/>
                  </a:lnTo>
                  <a:close/>
                  <a:moveTo>
                    <a:pt x="212114" y="6852"/>
                  </a:moveTo>
                  <a:lnTo>
                    <a:pt x="211500" y="7261"/>
                  </a:lnTo>
                  <a:lnTo>
                    <a:pt x="214057" y="7364"/>
                  </a:lnTo>
                  <a:lnTo>
                    <a:pt x="212114" y="6852"/>
                  </a:lnTo>
                  <a:close/>
                  <a:moveTo>
                    <a:pt x="177955" y="7159"/>
                  </a:moveTo>
                  <a:lnTo>
                    <a:pt x="178568" y="7466"/>
                  </a:lnTo>
                  <a:lnTo>
                    <a:pt x="177852" y="7261"/>
                  </a:lnTo>
                  <a:lnTo>
                    <a:pt x="177955" y="7159"/>
                  </a:lnTo>
                  <a:close/>
                  <a:moveTo>
                    <a:pt x="58602" y="6955"/>
                  </a:moveTo>
                  <a:lnTo>
                    <a:pt x="57375" y="7159"/>
                  </a:lnTo>
                  <a:lnTo>
                    <a:pt x="57784" y="7568"/>
                  </a:lnTo>
                  <a:lnTo>
                    <a:pt x="58602" y="7261"/>
                  </a:lnTo>
                  <a:lnTo>
                    <a:pt x="58602" y="6955"/>
                  </a:lnTo>
                  <a:close/>
                  <a:moveTo>
                    <a:pt x="108307" y="7568"/>
                  </a:moveTo>
                  <a:lnTo>
                    <a:pt x="108211" y="7587"/>
                  </a:lnTo>
                  <a:lnTo>
                    <a:pt x="108211" y="7587"/>
                  </a:lnTo>
                  <a:lnTo>
                    <a:pt x="108381" y="7603"/>
                  </a:lnTo>
                  <a:lnTo>
                    <a:pt x="108381" y="7603"/>
                  </a:lnTo>
                  <a:lnTo>
                    <a:pt x="108307" y="7568"/>
                  </a:lnTo>
                  <a:close/>
                  <a:moveTo>
                    <a:pt x="73636" y="7159"/>
                  </a:moveTo>
                  <a:lnTo>
                    <a:pt x="74659" y="7670"/>
                  </a:lnTo>
                  <a:lnTo>
                    <a:pt x="76193" y="7670"/>
                  </a:lnTo>
                  <a:lnTo>
                    <a:pt x="76193" y="7466"/>
                  </a:lnTo>
                  <a:lnTo>
                    <a:pt x="75989" y="7261"/>
                  </a:lnTo>
                  <a:lnTo>
                    <a:pt x="73636" y="7159"/>
                  </a:lnTo>
                  <a:close/>
                  <a:moveTo>
                    <a:pt x="108381" y="7603"/>
                  </a:moveTo>
                  <a:lnTo>
                    <a:pt x="109841" y="8284"/>
                  </a:lnTo>
                  <a:lnTo>
                    <a:pt x="110250" y="7773"/>
                  </a:lnTo>
                  <a:lnTo>
                    <a:pt x="108381" y="7603"/>
                  </a:lnTo>
                  <a:close/>
                  <a:moveTo>
                    <a:pt x="68011" y="6852"/>
                  </a:moveTo>
                  <a:lnTo>
                    <a:pt x="64227" y="7364"/>
                  </a:lnTo>
                  <a:lnTo>
                    <a:pt x="63511" y="8386"/>
                  </a:lnTo>
                  <a:lnTo>
                    <a:pt x="63511" y="8386"/>
                  </a:lnTo>
                  <a:lnTo>
                    <a:pt x="64534" y="8182"/>
                  </a:lnTo>
                  <a:lnTo>
                    <a:pt x="64739" y="7773"/>
                  </a:lnTo>
                  <a:lnTo>
                    <a:pt x="65352" y="7773"/>
                  </a:lnTo>
                  <a:lnTo>
                    <a:pt x="68011" y="6852"/>
                  </a:lnTo>
                  <a:close/>
                  <a:moveTo>
                    <a:pt x="216716" y="8182"/>
                  </a:moveTo>
                  <a:lnTo>
                    <a:pt x="217227" y="8489"/>
                  </a:lnTo>
                  <a:lnTo>
                    <a:pt x="217330" y="8182"/>
                  </a:lnTo>
                  <a:close/>
                  <a:moveTo>
                    <a:pt x="62080" y="6852"/>
                  </a:moveTo>
                  <a:lnTo>
                    <a:pt x="60852" y="7159"/>
                  </a:lnTo>
                  <a:lnTo>
                    <a:pt x="61568" y="7364"/>
                  </a:lnTo>
                  <a:lnTo>
                    <a:pt x="61057" y="7466"/>
                  </a:lnTo>
                  <a:lnTo>
                    <a:pt x="61057" y="7568"/>
                  </a:lnTo>
                  <a:lnTo>
                    <a:pt x="60341" y="7773"/>
                  </a:lnTo>
                  <a:lnTo>
                    <a:pt x="60034" y="7466"/>
                  </a:lnTo>
                  <a:lnTo>
                    <a:pt x="59420" y="7773"/>
                  </a:lnTo>
                  <a:lnTo>
                    <a:pt x="59727" y="8182"/>
                  </a:lnTo>
                  <a:lnTo>
                    <a:pt x="60136" y="8284"/>
                  </a:lnTo>
                  <a:lnTo>
                    <a:pt x="60443" y="8898"/>
                  </a:lnTo>
                  <a:lnTo>
                    <a:pt x="61159" y="8898"/>
                  </a:lnTo>
                  <a:lnTo>
                    <a:pt x="61364" y="8489"/>
                  </a:lnTo>
                  <a:lnTo>
                    <a:pt x="62182" y="8591"/>
                  </a:lnTo>
                  <a:lnTo>
                    <a:pt x="63205" y="7773"/>
                  </a:lnTo>
                  <a:lnTo>
                    <a:pt x="62795" y="7875"/>
                  </a:lnTo>
                  <a:lnTo>
                    <a:pt x="62795" y="7670"/>
                  </a:lnTo>
                  <a:lnTo>
                    <a:pt x="62898" y="7670"/>
                  </a:lnTo>
                  <a:lnTo>
                    <a:pt x="62182" y="7568"/>
                  </a:lnTo>
                  <a:lnTo>
                    <a:pt x="63409" y="7261"/>
                  </a:lnTo>
                  <a:lnTo>
                    <a:pt x="63205" y="7159"/>
                  </a:lnTo>
                  <a:lnTo>
                    <a:pt x="63511" y="6852"/>
                  </a:lnTo>
                  <a:close/>
                  <a:moveTo>
                    <a:pt x="47250" y="6443"/>
                  </a:moveTo>
                  <a:lnTo>
                    <a:pt x="47148" y="6852"/>
                  </a:lnTo>
                  <a:lnTo>
                    <a:pt x="43977" y="8386"/>
                  </a:lnTo>
                  <a:lnTo>
                    <a:pt x="44284" y="8386"/>
                  </a:lnTo>
                  <a:lnTo>
                    <a:pt x="44898" y="8693"/>
                  </a:lnTo>
                  <a:lnTo>
                    <a:pt x="44795" y="9102"/>
                  </a:lnTo>
                  <a:lnTo>
                    <a:pt x="44795" y="9102"/>
                  </a:lnTo>
                  <a:lnTo>
                    <a:pt x="51955" y="7159"/>
                  </a:lnTo>
                  <a:lnTo>
                    <a:pt x="51545" y="6545"/>
                  </a:lnTo>
                  <a:lnTo>
                    <a:pt x="50318" y="6750"/>
                  </a:lnTo>
                  <a:lnTo>
                    <a:pt x="50420" y="6545"/>
                  </a:lnTo>
                  <a:lnTo>
                    <a:pt x="50011" y="6648"/>
                  </a:lnTo>
                  <a:lnTo>
                    <a:pt x="50216" y="6545"/>
                  </a:lnTo>
                  <a:lnTo>
                    <a:pt x="47250" y="6443"/>
                  </a:lnTo>
                  <a:close/>
                  <a:moveTo>
                    <a:pt x="158625" y="7261"/>
                  </a:moveTo>
                  <a:lnTo>
                    <a:pt x="157602" y="7875"/>
                  </a:lnTo>
                  <a:lnTo>
                    <a:pt x="157500" y="8182"/>
                  </a:lnTo>
                  <a:lnTo>
                    <a:pt x="156989" y="8284"/>
                  </a:lnTo>
                  <a:lnTo>
                    <a:pt x="159034" y="9102"/>
                  </a:lnTo>
                  <a:lnTo>
                    <a:pt x="158830" y="9102"/>
                  </a:lnTo>
                  <a:lnTo>
                    <a:pt x="158830" y="9205"/>
                  </a:lnTo>
                  <a:lnTo>
                    <a:pt x="158727" y="9205"/>
                  </a:lnTo>
                  <a:lnTo>
                    <a:pt x="158727" y="9307"/>
                  </a:lnTo>
                  <a:lnTo>
                    <a:pt x="158625" y="9307"/>
                  </a:lnTo>
                  <a:lnTo>
                    <a:pt x="160773" y="9614"/>
                  </a:lnTo>
                  <a:lnTo>
                    <a:pt x="160773" y="9614"/>
                  </a:lnTo>
                  <a:lnTo>
                    <a:pt x="160568" y="9511"/>
                  </a:lnTo>
                  <a:lnTo>
                    <a:pt x="161489" y="9511"/>
                  </a:lnTo>
                  <a:lnTo>
                    <a:pt x="159239" y="8080"/>
                  </a:lnTo>
                  <a:lnTo>
                    <a:pt x="159341" y="7773"/>
                  </a:lnTo>
                  <a:lnTo>
                    <a:pt x="159545" y="7670"/>
                  </a:lnTo>
                  <a:lnTo>
                    <a:pt x="159545" y="7466"/>
                  </a:lnTo>
                  <a:lnTo>
                    <a:pt x="158625" y="7261"/>
                  </a:lnTo>
                  <a:close/>
                  <a:moveTo>
                    <a:pt x="18920" y="9818"/>
                  </a:moveTo>
                  <a:lnTo>
                    <a:pt x="18511" y="9920"/>
                  </a:lnTo>
                  <a:lnTo>
                    <a:pt x="18511" y="9920"/>
                  </a:lnTo>
                  <a:lnTo>
                    <a:pt x="18637" y="9901"/>
                  </a:lnTo>
                  <a:lnTo>
                    <a:pt x="18637" y="9901"/>
                  </a:lnTo>
                  <a:lnTo>
                    <a:pt x="18920" y="9818"/>
                  </a:lnTo>
                  <a:close/>
                  <a:moveTo>
                    <a:pt x="137352" y="10125"/>
                  </a:moveTo>
                  <a:lnTo>
                    <a:pt x="137352" y="10125"/>
                  </a:lnTo>
                  <a:lnTo>
                    <a:pt x="137352" y="10125"/>
                  </a:lnTo>
                  <a:close/>
                  <a:moveTo>
                    <a:pt x="88977" y="9818"/>
                  </a:moveTo>
                  <a:lnTo>
                    <a:pt x="88670" y="10125"/>
                  </a:lnTo>
                  <a:lnTo>
                    <a:pt x="88466" y="10125"/>
                  </a:lnTo>
                  <a:lnTo>
                    <a:pt x="88364" y="10432"/>
                  </a:lnTo>
                  <a:lnTo>
                    <a:pt x="88875" y="10534"/>
                  </a:lnTo>
                  <a:lnTo>
                    <a:pt x="88568" y="10636"/>
                  </a:lnTo>
                  <a:lnTo>
                    <a:pt x="89489" y="10636"/>
                  </a:lnTo>
                  <a:lnTo>
                    <a:pt x="90000" y="10227"/>
                  </a:lnTo>
                  <a:lnTo>
                    <a:pt x="88977" y="9818"/>
                  </a:lnTo>
                  <a:close/>
                  <a:moveTo>
                    <a:pt x="52466" y="7261"/>
                  </a:moveTo>
                  <a:lnTo>
                    <a:pt x="48170" y="8591"/>
                  </a:lnTo>
                  <a:lnTo>
                    <a:pt x="48784" y="8693"/>
                  </a:lnTo>
                  <a:lnTo>
                    <a:pt x="48375" y="8898"/>
                  </a:lnTo>
                  <a:lnTo>
                    <a:pt x="50216" y="8795"/>
                  </a:lnTo>
                  <a:lnTo>
                    <a:pt x="50216" y="8795"/>
                  </a:lnTo>
                  <a:lnTo>
                    <a:pt x="49705" y="8898"/>
                  </a:lnTo>
                  <a:lnTo>
                    <a:pt x="49807" y="8898"/>
                  </a:lnTo>
                  <a:lnTo>
                    <a:pt x="47761" y="9307"/>
                  </a:lnTo>
                  <a:lnTo>
                    <a:pt x="51545" y="9818"/>
                  </a:lnTo>
                  <a:lnTo>
                    <a:pt x="48273" y="9920"/>
                  </a:lnTo>
                  <a:lnTo>
                    <a:pt x="47557" y="10534"/>
                  </a:lnTo>
                  <a:lnTo>
                    <a:pt x="49193" y="10739"/>
                  </a:lnTo>
                  <a:lnTo>
                    <a:pt x="48989" y="11352"/>
                  </a:lnTo>
                  <a:lnTo>
                    <a:pt x="54102" y="10534"/>
                  </a:lnTo>
                  <a:lnTo>
                    <a:pt x="54102" y="10739"/>
                  </a:lnTo>
                  <a:lnTo>
                    <a:pt x="54818" y="10841"/>
                  </a:lnTo>
                  <a:lnTo>
                    <a:pt x="54614" y="10943"/>
                  </a:lnTo>
                  <a:lnTo>
                    <a:pt x="56148" y="11045"/>
                  </a:lnTo>
                  <a:lnTo>
                    <a:pt x="57170" y="10534"/>
                  </a:lnTo>
                  <a:lnTo>
                    <a:pt x="56250" y="10739"/>
                  </a:lnTo>
                  <a:lnTo>
                    <a:pt x="56455" y="10534"/>
                  </a:lnTo>
                  <a:lnTo>
                    <a:pt x="56352" y="10432"/>
                  </a:lnTo>
                  <a:lnTo>
                    <a:pt x="58295" y="10023"/>
                  </a:lnTo>
                  <a:lnTo>
                    <a:pt x="57989" y="9920"/>
                  </a:lnTo>
                  <a:lnTo>
                    <a:pt x="57989" y="9818"/>
                  </a:lnTo>
                  <a:lnTo>
                    <a:pt x="56864" y="9409"/>
                  </a:lnTo>
                  <a:lnTo>
                    <a:pt x="57682" y="7670"/>
                  </a:lnTo>
                  <a:lnTo>
                    <a:pt x="56455" y="7364"/>
                  </a:lnTo>
                  <a:lnTo>
                    <a:pt x="55739" y="8489"/>
                  </a:lnTo>
                  <a:lnTo>
                    <a:pt x="55023" y="8693"/>
                  </a:lnTo>
                  <a:lnTo>
                    <a:pt x="55023" y="8693"/>
                  </a:lnTo>
                  <a:lnTo>
                    <a:pt x="55227" y="7875"/>
                  </a:lnTo>
                  <a:lnTo>
                    <a:pt x="54614" y="7773"/>
                  </a:lnTo>
                  <a:lnTo>
                    <a:pt x="53591" y="8080"/>
                  </a:lnTo>
                  <a:lnTo>
                    <a:pt x="53693" y="7977"/>
                  </a:lnTo>
                  <a:lnTo>
                    <a:pt x="53182" y="8080"/>
                  </a:lnTo>
                  <a:lnTo>
                    <a:pt x="53182" y="8080"/>
                  </a:lnTo>
                  <a:lnTo>
                    <a:pt x="53898" y="7773"/>
                  </a:lnTo>
                  <a:lnTo>
                    <a:pt x="51750" y="7875"/>
                  </a:lnTo>
                  <a:lnTo>
                    <a:pt x="52466" y="7261"/>
                  </a:lnTo>
                  <a:close/>
                  <a:moveTo>
                    <a:pt x="60341" y="10330"/>
                  </a:moveTo>
                  <a:lnTo>
                    <a:pt x="58602" y="10841"/>
                  </a:lnTo>
                  <a:lnTo>
                    <a:pt x="59114" y="11148"/>
                  </a:lnTo>
                  <a:lnTo>
                    <a:pt x="60136" y="11352"/>
                  </a:lnTo>
                  <a:lnTo>
                    <a:pt x="61159" y="11045"/>
                  </a:lnTo>
                  <a:lnTo>
                    <a:pt x="60239" y="10432"/>
                  </a:lnTo>
                  <a:lnTo>
                    <a:pt x="60341" y="10330"/>
                  </a:lnTo>
                  <a:close/>
                  <a:moveTo>
                    <a:pt x="175193" y="11250"/>
                  </a:moveTo>
                  <a:lnTo>
                    <a:pt x="176114" y="11557"/>
                  </a:lnTo>
                  <a:lnTo>
                    <a:pt x="176114" y="12068"/>
                  </a:lnTo>
                  <a:lnTo>
                    <a:pt x="177136" y="12170"/>
                  </a:lnTo>
                  <a:lnTo>
                    <a:pt x="177136" y="12170"/>
                  </a:lnTo>
                  <a:lnTo>
                    <a:pt x="176011" y="12068"/>
                  </a:lnTo>
                  <a:lnTo>
                    <a:pt x="175193" y="11250"/>
                  </a:lnTo>
                  <a:close/>
                  <a:moveTo>
                    <a:pt x="73023" y="11557"/>
                  </a:moveTo>
                  <a:lnTo>
                    <a:pt x="72307" y="12375"/>
                  </a:lnTo>
                  <a:lnTo>
                    <a:pt x="73432" y="12375"/>
                  </a:lnTo>
                  <a:lnTo>
                    <a:pt x="74148" y="11659"/>
                  </a:lnTo>
                  <a:lnTo>
                    <a:pt x="73023" y="11557"/>
                  </a:lnTo>
                  <a:close/>
                  <a:moveTo>
                    <a:pt x="108409" y="13295"/>
                  </a:moveTo>
                  <a:lnTo>
                    <a:pt x="108716" y="13398"/>
                  </a:lnTo>
                  <a:lnTo>
                    <a:pt x="108818" y="13398"/>
                  </a:lnTo>
                  <a:lnTo>
                    <a:pt x="108409" y="13295"/>
                  </a:lnTo>
                  <a:close/>
                  <a:moveTo>
                    <a:pt x="9205" y="13807"/>
                  </a:moveTo>
                  <a:lnTo>
                    <a:pt x="9102" y="13909"/>
                  </a:lnTo>
                  <a:lnTo>
                    <a:pt x="9205" y="13909"/>
                  </a:lnTo>
                  <a:lnTo>
                    <a:pt x="9205" y="13807"/>
                  </a:lnTo>
                  <a:close/>
                  <a:moveTo>
                    <a:pt x="5420" y="11045"/>
                  </a:moveTo>
                  <a:lnTo>
                    <a:pt x="0" y="14420"/>
                  </a:lnTo>
                  <a:lnTo>
                    <a:pt x="511" y="14318"/>
                  </a:lnTo>
                  <a:lnTo>
                    <a:pt x="1227" y="13909"/>
                  </a:lnTo>
                  <a:lnTo>
                    <a:pt x="1227" y="13705"/>
                  </a:lnTo>
                  <a:lnTo>
                    <a:pt x="1739" y="13398"/>
                  </a:lnTo>
                  <a:lnTo>
                    <a:pt x="1636" y="13500"/>
                  </a:lnTo>
                  <a:lnTo>
                    <a:pt x="2352" y="13295"/>
                  </a:lnTo>
                  <a:lnTo>
                    <a:pt x="2148" y="13398"/>
                  </a:lnTo>
                  <a:lnTo>
                    <a:pt x="2761" y="13193"/>
                  </a:lnTo>
                  <a:lnTo>
                    <a:pt x="2761" y="13193"/>
                  </a:lnTo>
                  <a:lnTo>
                    <a:pt x="1636" y="14011"/>
                  </a:lnTo>
                  <a:lnTo>
                    <a:pt x="3273" y="14114"/>
                  </a:lnTo>
                  <a:lnTo>
                    <a:pt x="3068" y="14625"/>
                  </a:lnTo>
                  <a:lnTo>
                    <a:pt x="3375" y="15034"/>
                  </a:lnTo>
                  <a:lnTo>
                    <a:pt x="3989" y="14932"/>
                  </a:lnTo>
                  <a:lnTo>
                    <a:pt x="3682" y="15136"/>
                  </a:lnTo>
                  <a:lnTo>
                    <a:pt x="4295" y="14932"/>
                  </a:lnTo>
                  <a:lnTo>
                    <a:pt x="4193" y="15034"/>
                  </a:lnTo>
                  <a:lnTo>
                    <a:pt x="4193" y="15034"/>
                  </a:lnTo>
                  <a:lnTo>
                    <a:pt x="4602" y="14727"/>
                  </a:lnTo>
                  <a:lnTo>
                    <a:pt x="4500" y="14625"/>
                  </a:lnTo>
                  <a:lnTo>
                    <a:pt x="5523" y="14318"/>
                  </a:lnTo>
                  <a:lnTo>
                    <a:pt x="5318" y="14318"/>
                  </a:lnTo>
                  <a:lnTo>
                    <a:pt x="5830" y="14114"/>
                  </a:lnTo>
                  <a:lnTo>
                    <a:pt x="5727" y="14114"/>
                  </a:lnTo>
                  <a:lnTo>
                    <a:pt x="5727" y="13909"/>
                  </a:lnTo>
                  <a:lnTo>
                    <a:pt x="6136" y="14011"/>
                  </a:lnTo>
                  <a:lnTo>
                    <a:pt x="6750" y="14011"/>
                  </a:lnTo>
                  <a:lnTo>
                    <a:pt x="6852" y="13807"/>
                  </a:lnTo>
                  <a:lnTo>
                    <a:pt x="7159" y="13909"/>
                  </a:lnTo>
                  <a:lnTo>
                    <a:pt x="8386" y="13500"/>
                  </a:lnTo>
                  <a:lnTo>
                    <a:pt x="8080" y="13398"/>
                  </a:lnTo>
                  <a:lnTo>
                    <a:pt x="7977" y="13398"/>
                  </a:lnTo>
                  <a:lnTo>
                    <a:pt x="8080" y="13193"/>
                  </a:lnTo>
                  <a:lnTo>
                    <a:pt x="8080" y="12886"/>
                  </a:lnTo>
                  <a:lnTo>
                    <a:pt x="7364" y="12682"/>
                  </a:lnTo>
                  <a:lnTo>
                    <a:pt x="7364" y="12682"/>
                  </a:lnTo>
                  <a:lnTo>
                    <a:pt x="7568" y="12784"/>
                  </a:lnTo>
                  <a:lnTo>
                    <a:pt x="6852" y="12886"/>
                  </a:lnTo>
                  <a:lnTo>
                    <a:pt x="7261" y="12682"/>
                  </a:lnTo>
                  <a:lnTo>
                    <a:pt x="6341" y="12682"/>
                  </a:lnTo>
                  <a:lnTo>
                    <a:pt x="6034" y="12989"/>
                  </a:lnTo>
                  <a:lnTo>
                    <a:pt x="6034" y="13193"/>
                  </a:lnTo>
                  <a:lnTo>
                    <a:pt x="5625" y="13398"/>
                  </a:lnTo>
                  <a:lnTo>
                    <a:pt x="5625" y="13398"/>
                  </a:lnTo>
                  <a:lnTo>
                    <a:pt x="5932" y="13193"/>
                  </a:lnTo>
                  <a:lnTo>
                    <a:pt x="5523" y="13295"/>
                  </a:lnTo>
                  <a:lnTo>
                    <a:pt x="5523" y="13091"/>
                  </a:lnTo>
                  <a:lnTo>
                    <a:pt x="6545" y="12375"/>
                  </a:lnTo>
                  <a:lnTo>
                    <a:pt x="6136" y="12375"/>
                  </a:lnTo>
                  <a:lnTo>
                    <a:pt x="6648" y="12068"/>
                  </a:lnTo>
                  <a:lnTo>
                    <a:pt x="5830" y="11659"/>
                  </a:lnTo>
                  <a:lnTo>
                    <a:pt x="5932" y="11557"/>
                  </a:lnTo>
                  <a:lnTo>
                    <a:pt x="5727" y="11352"/>
                  </a:lnTo>
                  <a:lnTo>
                    <a:pt x="5523" y="11557"/>
                  </a:lnTo>
                  <a:lnTo>
                    <a:pt x="5523" y="11352"/>
                  </a:lnTo>
                  <a:lnTo>
                    <a:pt x="5625" y="11250"/>
                  </a:lnTo>
                  <a:lnTo>
                    <a:pt x="5420" y="11045"/>
                  </a:lnTo>
                  <a:close/>
                  <a:moveTo>
                    <a:pt x="113011" y="13193"/>
                  </a:moveTo>
                  <a:lnTo>
                    <a:pt x="112807" y="13398"/>
                  </a:lnTo>
                  <a:lnTo>
                    <a:pt x="112500" y="13398"/>
                  </a:lnTo>
                  <a:lnTo>
                    <a:pt x="112193" y="13602"/>
                  </a:lnTo>
                  <a:lnTo>
                    <a:pt x="111682" y="13500"/>
                  </a:lnTo>
                  <a:lnTo>
                    <a:pt x="111682" y="13500"/>
                  </a:lnTo>
                  <a:lnTo>
                    <a:pt x="111784" y="13807"/>
                  </a:lnTo>
                  <a:lnTo>
                    <a:pt x="111170" y="13500"/>
                  </a:lnTo>
                  <a:lnTo>
                    <a:pt x="110864" y="13500"/>
                  </a:lnTo>
                  <a:lnTo>
                    <a:pt x="110864" y="13807"/>
                  </a:lnTo>
                  <a:lnTo>
                    <a:pt x="110250" y="13602"/>
                  </a:lnTo>
                  <a:lnTo>
                    <a:pt x="110148" y="14011"/>
                  </a:lnTo>
                  <a:lnTo>
                    <a:pt x="109739" y="14011"/>
                  </a:lnTo>
                  <a:lnTo>
                    <a:pt x="109636" y="14216"/>
                  </a:lnTo>
                  <a:lnTo>
                    <a:pt x="109432" y="14114"/>
                  </a:lnTo>
                  <a:lnTo>
                    <a:pt x="109534" y="14011"/>
                  </a:lnTo>
                  <a:lnTo>
                    <a:pt x="109330" y="13807"/>
                  </a:lnTo>
                  <a:lnTo>
                    <a:pt x="109534" y="13602"/>
                  </a:lnTo>
                  <a:lnTo>
                    <a:pt x="108716" y="13398"/>
                  </a:lnTo>
                  <a:lnTo>
                    <a:pt x="108511" y="13398"/>
                  </a:lnTo>
                  <a:lnTo>
                    <a:pt x="108716" y="13705"/>
                  </a:lnTo>
                  <a:lnTo>
                    <a:pt x="108102" y="13500"/>
                  </a:lnTo>
                  <a:lnTo>
                    <a:pt x="108102" y="13500"/>
                  </a:lnTo>
                  <a:lnTo>
                    <a:pt x="108205" y="13602"/>
                  </a:lnTo>
                  <a:lnTo>
                    <a:pt x="108102" y="13705"/>
                  </a:lnTo>
                  <a:lnTo>
                    <a:pt x="107898" y="13705"/>
                  </a:lnTo>
                  <a:lnTo>
                    <a:pt x="108205" y="13807"/>
                  </a:lnTo>
                  <a:lnTo>
                    <a:pt x="107693" y="13807"/>
                  </a:lnTo>
                  <a:lnTo>
                    <a:pt x="107795" y="14011"/>
                  </a:lnTo>
                  <a:lnTo>
                    <a:pt x="107386" y="14011"/>
                  </a:lnTo>
                  <a:lnTo>
                    <a:pt x="109125" y="14114"/>
                  </a:lnTo>
                  <a:lnTo>
                    <a:pt x="108614" y="14318"/>
                  </a:lnTo>
                  <a:lnTo>
                    <a:pt x="109125" y="14318"/>
                  </a:lnTo>
                  <a:lnTo>
                    <a:pt x="109125" y="14420"/>
                  </a:lnTo>
                  <a:lnTo>
                    <a:pt x="107898" y="14523"/>
                  </a:lnTo>
                  <a:lnTo>
                    <a:pt x="107795" y="14727"/>
                  </a:lnTo>
                  <a:lnTo>
                    <a:pt x="109227" y="14830"/>
                  </a:lnTo>
                  <a:lnTo>
                    <a:pt x="108818" y="15136"/>
                  </a:lnTo>
                  <a:lnTo>
                    <a:pt x="109227" y="15034"/>
                  </a:lnTo>
                  <a:lnTo>
                    <a:pt x="108307" y="15341"/>
                  </a:lnTo>
                  <a:lnTo>
                    <a:pt x="108716" y="15545"/>
                  </a:lnTo>
                  <a:lnTo>
                    <a:pt x="109432" y="15443"/>
                  </a:lnTo>
                  <a:lnTo>
                    <a:pt x="111375" y="15852"/>
                  </a:lnTo>
                  <a:lnTo>
                    <a:pt x="114648" y="14625"/>
                  </a:lnTo>
                  <a:lnTo>
                    <a:pt x="114648" y="14216"/>
                  </a:lnTo>
                  <a:lnTo>
                    <a:pt x="114034" y="13807"/>
                  </a:lnTo>
                  <a:lnTo>
                    <a:pt x="113830" y="13500"/>
                  </a:lnTo>
                  <a:lnTo>
                    <a:pt x="114239" y="13295"/>
                  </a:lnTo>
                  <a:lnTo>
                    <a:pt x="113011" y="13193"/>
                  </a:lnTo>
                  <a:close/>
                  <a:moveTo>
                    <a:pt x="65557" y="13705"/>
                  </a:moveTo>
                  <a:lnTo>
                    <a:pt x="63102" y="15750"/>
                  </a:lnTo>
                  <a:lnTo>
                    <a:pt x="63818" y="15750"/>
                  </a:lnTo>
                  <a:lnTo>
                    <a:pt x="64023" y="16159"/>
                  </a:lnTo>
                  <a:lnTo>
                    <a:pt x="66309" y="15364"/>
                  </a:lnTo>
                  <a:lnTo>
                    <a:pt x="66309" y="15364"/>
                  </a:lnTo>
                  <a:lnTo>
                    <a:pt x="67091" y="15852"/>
                  </a:lnTo>
                  <a:lnTo>
                    <a:pt x="68114" y="15545"/>
                  </a:lnTo>
                  <a:lnTo>
                    <a:pt x="67091" y="15443"/>
                  </a:lnTo>
                  <a:lnTo>
                    <a:pt x="67295" y="14830"/>
                  </a:lnTo>
                  <a:lnTo>
                    <a:pt x="65659" y="14011"/>
                  </a:lnTo>
                  <a:lnTo>
                    <a:pt x="65557" y="13705"/>
                  </a:lnTo>
                  <a:close/>
                  <a:moveTo>
                    <a:pt x="128864" y="16773"/>
                  </a:moveTo>
                  <a:lnTo>
                    <a:pt x="128455" y="16875"/>
                  </a:lnTo>
                  <a:lnTo>
                    <a:pt x="128455" y="16875"/>
                  </a:lnTo>
                  <a:lnTo>
                    <a:pt x="128785" y="16804"/>
                  </a:lnTo>
                  <a:lnTo>
                    <a:pt x="128785" y="16804"/>
                  </a:lnTo>
                  <a:lnTo>
                    <a:pt x="128864" y="16773"/>
                  </a:lnTo>
                  <a:close/>
                  <a:moveTo>
                    <a:pt x="73227" y="6955"/>
                  </a:moveTo>
                  <a:lnTo>
                    <a:pt x="70773" y="7364"/>
                  </a:lnTo>
                  <a:lnTo>
                    <a:pt x="71080" y="7670"/>
                  </a:lnTo>
                  <a:lnTo>
                    <a:pt x="70159" y="7773"/>
                  </a:lnTo>
                  <a:lnTo>
                    <a:pt x="70466" y="8080"/>
                  </a:lnTo>
                  <a:lnTo>
                    <a:pt x="70466" y="8386"/>
                  </a:lnTo>
                  <a:lnTo>
                    <a:pt x="69443" y="8386"/>
                  </a:lnTo>
                  <a:lnTo>
                    <a:pt x="69955" y="8693"/>
                  </a:lnTo>
                  <a:lnTo>
                    <a:pt x="69545" y="9205"/>
                  </a:lnTo>
                  <a:lnTo>
                    <a:pt x="68318" y="9205"/>
                  </a:lnTo>
                  <a:lnTo>
                    <a:pt x="69545" y="8898"/>
                  </a:lnTo>
                  <a:lnTo>
                    <a:pt x="69136" y="8489"/>
                  </a:lnTo>
                  <a:lnTo>
                    <a:pt x="69443" y="7773"/>
                  </a:lnTo>
                  <a:lnTo>
                    <a:pt x="71284" y="6955"/>
                  </a:lnTo>
                  <a:lnTo>
                    <a:pt x="71284" y="6955"/>
                  </a:lnTo>
                  <a:lnTo>
                    <a:pt x="67193" y="8284"/>
                  </a:lnTo>
                  <a:lnTo>
                    <a:pt x="66682" y="8898"/>
                  </a:lnTo>
                  <a:lnTo>
                    <a:pt x="67909" y="9205"/>
                  </a:lnTo>
                  <a:lnTo>
                    <a:pt x="66477" y="9205"/>
                  </a:lnTo>
                  <a:lnTo>
                    <a:pt x="68114" y="9716"/>
                  </a:lnTo>
                  <a:lnTo>
                    <a:pt x="67909" y="9920"/>
                  </a:lnTo>
                  <a:lnTo>
                    <a:pt x="70875" y="10125"/>
                  </a:lnTo>
                  <a:lnTo>
                    <a:pt x="70875" y="10023"/>
                  </a:lnTo>
                  <a:lnTo>
                    <a:pt x="72205" y="10227"/>
                  </a:lnTo>
                  <a:lnTo>
                    <a:pt x="72614" y="9716"/>
                  </a:lnTo>
                  <a:lnTo>
                    <a:pt x="73534" y="9920"/>
                  </a:lnTo>
                  <a:lnTo>
                    <a:pt x="73432" y="10227"/>
                  </a:lnTo>
                  <a:lnTo>
                    <a:pt x="73841" y="10330"/>
                  </a:lnTo>
                  <a:lnTo>
                    <a:pt x="73636" y="10432"/>
                  </a:lnTo>
                  <a:lnTo>
                    <a:pt x="74148" y="10330"/>
                  </a:lnTo>
                  <a:lnTo>
                    <a:pt x="74250" y="10739"/>
                  </a:lnTo>
                  <a:lnTo>
                    <a:pt x="73432" y="11148"/>
                  </a:lnTo>
                  <a:lnTo>
                    <a:pt x="74685" y="10969"/>
                  </a:lnTo>
                  <a:lnTo>
                    <a:pt x="74761" y="11045"/>
                  </a:lnTo>
                  <a:lnTo>
                    <a:pt x="74557" y="11148"/>
                  </a:lnTo>
                  <a:lnTo>
                    <a:pt x="75375" y="11557"/>
                  </a:lnTo>
                  <a:lnTo>
                    <a:pt x="75477" y="12273"/>
                  </a:lnTo>
                  <a:lnTo>
                    <a:pt x="73534" y="13398"/>
                  </a:lnTo>
                  <a:lnTo>
                    <a:pt x="73636" y="13807"/>
                  </a:lnTo>
                  <a:lnTo>
                    <a:pt x="72000" y="14216"/>
                  </a:lnTo>
                  <a:lnTo>
                    <a:pt x="72000" y="14318"/>
                  </a:lnTo>
                  <a:lnTo>
                    <a:pt x="72000" y="14420"/>
                  </a:lnTo>
                  <a:lnTo>
                    <a:pt x="71898" y="14625"/>
                  </a:lnTo>
                  <a:lnTo>
                    <a:pt x="72000" y="14318"/>
                  </a:lnTo>
                  <a:lnTo>
                    <a:pt x="71080" y="14114"/>
                  </a:lnTo>
                  <a:lnTo>
                    <a:pt x="70057" y="14727"/>
                  </a:lnTo>
                  <a:lnTo>
                    <a:pt x="70977" y="15136"/>
                  </a:lnTo>
                  <a:lnTo>
                    <a:pt x="72307" y="14727"/>
                  </a:lnTo>
                  <a:lnTo>
                    <a:pt x="72818" y="14830"/>
                  </a:lnTo>
                  <a:lnTo>
                    <a:pt x="72716" y="15034"/>
                  </a:lnTo>
                  <a:lnTo>
                    <a:pt x="72716" y="15034"/>
                  </a:lnTo>
                  <a:lnTo>
                    <a:pt x="73330" y="14830"/>
                  </a:lnTo>
                  <a:lnTo>
                    <a:pt x="73125" y="15034"/>
                  </a:lnTo>
                  <a:lnTo>
                    <a:pt x="73739" y="15545"/>
                  </a:lnTo>
                  <a:lnTo>
                    <a:pt x="73636" y="15648"/>
                  </a:lnTo>
                  <a:lnTo>
                    <a:pt x="74148" y="15750"/>
                  </a:lnTo>
                  <a:lnTo>
                    <a:pt x="73636" y="15955"/>
                  </a:lnTo>
                  <a:lnTo>
                    <a:pt x="74250" y="16261"/>
                  </a:lnTo>
                  <a:lnTo>
                    <a:pt x="74045" y="16364"/>
                  </a:lnTo>
                  <a:lnTo>
                    <a:pt x="76909" y="17386"/>
                  </a:lnTo>
                  <a:lnTo>
                    <a:pt x="77318" y="17080"/>
                  </a:lnTo>
                  <a:lnTo>
                    <a:pt x="76398" y="16364"/>
                  </a:lnTo>
                  <a:lnTo>
                    <a:pt x="76500" y="16261"/>
                  </a:lnTo>
                  <a:lnTo>
                    <a:pt x="75989" y="15648"/>
                  </a:lnTo>
                  <a:lnTo>
                    <a:pt x="76705" y="15648"/>
                  </a:lnTo>
                  <a:lnTo>
                    <a:pt x="78034" y="16568"/>
                  </a:lnTo>
                  <a:lnTo>
                    <a:pt x="78239" y="16364"/>
                  </a:lnTo>
                  <a:lnTo>
                    <a:pt x="78545" y="16364"/>
                  </a:lnTo>
                  <a:lnTo>
                    <a:pt x="78545" y="15648"/>
                  </a:lnTo>
                  <a:lnTo>
                    <a:pt x="78955" y="15955"/>
                  </a:lnTo>
                  <a:lnTo>
                    <a:pt x="78955" y="15443"/>
                  </a:lnTo>
                  <a:lnTo>
                    <a:pt x="79057" y="15341"/>
                  </a:lnTo>
                  <a:lnTo>
                    <a:pt x="78750" y="15341"/>
                  </a:lnTo>
                  <a:lnTo>
                    <a:pt x="78545" y="15136"/>
                  </a:lnTo>
                  <a:lnTo>
                    <a:pt x="78955" y="14932"/>
                  </a:lnTo>
                  <a:lnTo>
                    <a:pt x="78648" y="14932"/>
                  </a:lnTo>
                  <a:lnTo>
                    <a:pt x="78955" y="14830"/>
                  </a:lnTo>
                  <a:lnTo>
                    <a:pt x="78648" y="14625"/>
                  </a:lnTo>
                  <a:lnTo>
                    <a:pt x="78034" y="14625"/>
                  </a:lnTo>
                  <a:lnTo>
                    <a:pt x="77830" y="14216"/>
                  </a:lnTo>
                  <a:lnTo>
                    <a:pt x="78034" y="14114"/>
                  </a:lnTo>
                  <a:lnTo>
                    <a:pt x="77523" y="14011"/>
                  </a:lnTo>
                  <a:lnTo>
                    <a:pt x="77727" y="13807"/>
                  </a:lnTo>
                  <a:lnTo>
                    <a:pt x="77318" y="13398"/>
                  </a:lnTo>
                  <a:lnTo>
                    <a:pt x="78341" y="13602"/>
                  </a:lnTo>
                  <a:lnTo>
                    <a:pt x="78136" y="13193"/>
                  </a:lnTo>
                  <a:lnTo>
                    <a:pt x="78545" y="13091"/>
                  </a:lnTo>
                  <a:lnTo>
                    <a:pt x="79466" y="13398"/>
                  </a:lnTo>
                  <a:lnTo>
                    <a:pt x="79159" y="13602"/>
                  </a:lnTo>
                  <a:lnTo>
                    <a:pt x="79159" y="13602"/>
                  </a:lnTo>
                  <a:lnTo>
                    <a:pt x="80284" y="13295"/>
                  </a:lnTo>
                  <a:lnTo>
                    <a:pt x="79466" y="13909"/>
                  </a:lnTo>
                  <a:lnTo>
                    <a:pt x="79568" y="14318"/>
                  </a:lnTo>
                  <a:lnTo>
                    <a:pt x="79977" y="14114"/>
                  </a:lnTo>
                  <a:lnTo>
                    <a:pt x="80182" y="14420"/>
                  </a:lnTo>
                  <a:lnTo>
                    <a:pt x="80489" y="14420"/>
                  </a:lnTo>
                  <a:lnTo>
                    <a:pt x="80693" y="13909"/>
                  </a:lnTo>
                  <a:lnTo>
                    <a:pt x="80489" y="13909"/>
                  </a:lnTo>
                  <a:lnTo>
                    <a:pt x="81818" y="13602"/>
                  </a:lnTo>
                  <a:lnTo>
                    <a:pt x="81511" y="13398"/>
                  </a:lnTo>
                  <a:lnTo>
                    <a:pt x="81716" y="13295"/>
                  </a:lnTo>
                  <a:lnTo>
                    <a:pt x="81614" y="13193"/>
                  </a:lnTo>
                  <a:lnTo>
                    <a:pt x="82023" y="13295"/>
                  </a:lnTo>
                  <a:lnTo>
                    <a:pt x="82023" y="12989"/>
                  </a:lnTo>
                  <a:lnTo>
                    <a:pt x="82227" y="12989"/>
                  </a:lnTo>
                  <a:lnTo>
                    <a:pt x="82227" y="12682"/>
                  </a:lnTo>
                  <a:lnTo>
                    <a:pt x="81000" y="12886"/>
                  </a:lnTo>
                  <a:lnTo>
                    <a:pt x="81716" y="12477"/>
                  </a:lnTo>
                  <a:lnTo>
                    <a:pt x="80591" y="12375"/>
                  </a:lnTo>
                  <a:lnTo>
                    <a:pt x="81307" y="12170"/>
                  </a:lnTo>
                  <a:lnTo>
                    <a:pt x="80591" y="11966"/>
                  </a:lnTo>
                  <a:lnTo>
                    <a:pt x="80795" y="11864"/>
                  </a:lnTo>
                  <a:lnTo>
                    <a:pt x="80284" y="12068"/>
                  </a:lnTo>
                  <a:lnTo>
                    <a:pt x="80386" y="11864"/>
                  </a:lnTo>
                  <a:lnTo>
                    <a:pt x="80080" y="11864"/>
                  </a:lnTo>
                  <a:lnTo>
                    <a:pt x="80182" y="11761"/>
                  </a:lnTo>
                  <a:lnTo>
                    <a:pt x="79670" y="11966"/>
                  </a:lnTo>
                  <a:lnTo>
                    <a:pt x="80080" y="11557"/>
                  </a:lnTo>
                  <a:lnTo>
                    <a:pt x="79670" y="11761"/>
                  </a:lnTo>
                  <a:lnTo>
                    <a:pt x="79466" y="11761"/>
                  </a:lnTo>
                  <a:lnTo>
                    <a:pt x="79568" y="11557"/>
                  </a:lnTo>
                  <a:lnTo>
                    <a:pt x="79773" y="11455"/>
                  </a:lnTo>
                  <a:lnTo>
                    <a:pt x="79057" y="11352"/>
                  </a:lnTo>
                  <a:lnTo>
                    <a:pt x="78955" y="11148"/>
                  </a:lnTo>
                  <a:lnTo>
                    <a:pt x="78239" y="11045"/>
                  </a:lnTo>
                  <a:lnTo>
                    <a:pt x="79466" y="10943"/>
                  </a:lnTo>
                  <a:lnTo>
                    <a:pt x="78648" y="10841"/>
                  </a:lnTo>
                  <a:lnTo>
                    <a:pt x="80284" y="10739"/>
                  </a:lnTo>
                  <a:lnTo>
                    <a:pt x="78648" y="10534"/>
                  </a:lnTo>
                  <a:lnTo>
                    <a:pt x="80080" y="10330"/>
                  </a:lnTo>
                  <a:lnTo>
                    <a:pt x="79670" y="10023"/>
                  </a:lnTo>
                  <a:lnTo>
                    <a:pt x="79057" y="10125"/>
                  </a:lnTo>
                  <a:lnTo>
                    <a:pt x="79364" y="9920"/>
                  </a:lnTo>
                  <a:lnTo>
                    <a:pt x="78443" y="10023"/>
                  </a:lnTo>
                  <a:lnTo>
                    <a:pt x="79568" y="9716"/>
                  </a:lnTo>
                  <a:lnTo>
                    <a:pt x="79466" y="9409"/>
                  </a:lnTo>
                  <a:lnTo>
                    <a:pt x="78750" y="9409"/>
                  </a:lnTo>
                  <a:lnTo>
                    <a:pt x="77625" y="10023"/>
                  </a:lnTo>
                  <a:lnTo>
                    <a:pt x="77420" y="9716"/>
                  </a:lnTo>
                  <a:lnTo>
                    <a:pt x="78545" y="9205"/>
                  </a:lnTo>
                  <a:lnTo>
                    <a:pt x="77216" y="9409"/>
                  </a:lnTo>
                  <a:lnTo>
                    <a:pt x="77216" y="9409"/>
                  </a:lnTo>
                  <a:lnTo>
                    <a:pt x="78341" y="8898"/>
                  </a:lnTo>
                  <a:lnTo>
                    <a:pt x="76500" y="8898"/>
                  </a:lnTo>
                  <a:lnTo>
                    <a:pt x="77011" y="8591"/>
                  </a:lnTo>
                  <a:lnTo>
                    <a:pt x="75886" y="9000"/>
                  </a:lnTo>
                  <a:lnTo>
                    <a:pt x="76398" y="8693"/>
                  </a:lnTo>
                  <a:lnTo>
                    <a:pt x="76091" y="8693"/>
                  </a:lnTo>
                  <a:lnTo>
                    <a:pt x="76807" y="8386"/>
                  </a:lnTo>
                  <a:lnTo>
                    <a:pt x="76807" y="8386"/>
                  </a:lnTo>
                  <a:lnTo>
                    <a:pt x="75580" y="8591"/>
                  </a:lnTo>
                  <a:lnTo>
                    <a:pt x="75580" y="8591"/>
                  </a:lnTo>
                  <a:lnTo>
                    <a:pt x="76500" y="8182"/>
                  </a:lnTo>
                  <a:lnTo>
                    <a:pt x="74761" y="7875"/>
                  </a:lnTo>
                  <a:lnTo>
                    <a:pt x="74761" y="7875"/>
                  </a:lnTo>
                  <a:lnTo>
                    <a:pt x="74864" y="8182"/>
                  </a:lnTo>
                  <a:lnTo>
                    <a:pt x="74045" y="8489"/>
                  </a:lnTo>
                  <a:lnTo>
                    <a:pt x="73739" y="8080"/>
                  </a:lnTo>
                  <a:lnTo>
                    <a:pt x="72511" y="8489"/>
                  </a:lnTo>
                  <a:lnTo>
                    <a:pt x="72818" y="8284"/>
                  </a:lnTo>
                  <a:lnTo>
                    <a:pt x="72716" y="8182"/>
                  </a:lnTo>
                  <a:lnTo>
                    <a:pt x="73125" y="7977"/>
                  </a:lnTo>
                  <a:lnTo>
                    <a:pt x="72614" y="8182"/>
                  </a:lnTo>
                  <a:lnTo>
                    <a:pt x="73534" y="7773"/>
                  </a:lnTo>
                  <a:lnTo>
                    <a:pt x="73227" y="6955"/>
                  </a:lnTo>
                  <a:close/>
                  <a:moveTo>
                    <a:pt x="103500" y="0"/>
                  </a:moveTo>
                  <a:lnTo>
                    <a:pt x="103807" y="102"/>
                  </a:lnTo>
                  <a:lnTo>
                    <a:pt x="99205" y="205"/>
                  </a:lnTo>
                  <a:lnTo>
                    <a:pt x="101864" y="307"/>
                  </a:lnTo>
                  <a:lnTo>
                    <a:pt x="99614" y="409"/>
                  </a:lnTo>
                  <a:lnTo>
                    <a:pt x="100125" y="511"/>
                  </a:lnTo>
                  <a:lnTo>
                    <a:pt x="99818" y="818"/>
                  </a:lnTo>
                  <a:lnTo>
                    <a:pt x="97057" y="511"/>
                  </a:lnTo>
                  <a:lnTo>
                    <a:pt x="97057" y="818"/>
                  </a:lnTo>
                  <a:lnTo>
                    <a:pt x="94705" y="1023"/>
                  </a:lnTo>
                  <a:lnTo>
                    <a:pt x="94705" y="614"/>
                  </a:lnTo>
                  <a:lnTo>
                    <a:pt x="91841" y="818"/>
                  </a:lnTo>
                  <a:lnTo>
                    <a:pt x="92966" y="1227"/>
                  </a:lnTo>
                  <a:lnTo>
                    <a:pt x="90716" y="920"/>
                  </a:lnTo>
                  <a:lnTo>
                    <a:pt x="86625" y="1841"/>
                  </a:lnTo>
                  <a:lnTo>
                    <a:pt x="86932" y="2148"/>
                  </a:lnTo>
                  <a:lnTo>
                    <a:pt x="87955" y="2045"/>
                  </a:lnTo>
                  <a:lnTo>
                    <a:pt x="87955" y="2045"/>
                  </a:lnTo>
                  <a:lnTo>
                    <a:pt x="81818" y="3477"/>
                  </a:lnTo>
                  <a:lnTo>
                    <a:pt x="83148" y="3682"/>
                  </a:lnTo>
                  <a:lnTo>
                    <a:pt x="82841" y="3784"/>
                  </a:lnTo>
                  <a:lnTo>
                    <a:pt x="85091" y="3989"/>
                  </a:lnTo>
                  <a:lnTo>
                    <a:pt x="82023" y="4295"/>
                  </a:lnTo>
                  <a:lnTo>
                    <a:pt x="82125" y="4398"/>
                  </a:lnTo>
                  <a:lnTo>
                    <a:pt x="82125" y="4500"/>
                  </a:lnTo>
                  <a:lnTo>
                    <a:pt x="83557" y="4602"/>
                  </a:lnTo>
                  <a:lnTo>
                    <a:pt x="82534" y="4807"/>
                  </a:lnTo>
                  <a:lnTo>
                    <a:pt x="88568" y="5318"/>
                  </a:lnTo>
                  <a:lnTo>
                    <a:pt x="88568" y="5625"/>
                  </a:lnTo>
                  <a:lnTo>
                    <a:pt x="89489" y="6341"/>
                  </a:lnTo>
                  <a:lnTo>
                    <a:pt x="88670" y="6648"/>
                  </a:lnTo>
                  <a:lnTo>
                    <a:pt x="89386" y="6750"/>
                  </a:lnTo>
                  <a:lnTo>
                    <a:pt x="89182" y="7057"/>
                  </a:lnTo>
                  <a:lnTo>
                    <a:pt x="89386" y="7466"/>
                  </a:lnTo>
                  <a:lnTo>
                    <a:pt x="89386" y="7568"/>
                  </a:lnTo>
                  <a:lnTo>
                    <a:pt x="89591" y="7773"/>
                  </a:lnTo>
                  <a:lnTo>
                    <a:pt x="88977" y="7977"/>
                  </a:lnTo>
                  <a:lnTo>
                    <a:pt x="89080" y="8080"/>
                  </a:lnTo>
                  <a:lnTo>
                    <a:pt x="88773" y="8182"/>
                  </a:lnTo>
                  <a:lnTo>
                    <a:pt x="88773" y="8182"/>
                  </a:lnTo>
                  <a:lnTo>
                    <a:pt x="89386" y="8080"/>
                  </a:lnTo>
                  <a:lnTo>
                    <a:pt x="88568" y="8795"/>
                  </a:lnTo>
                  <a:lnTo>
                    <a:pt x="90102" y="8489"/>
                  </a:lnTo>
                  <a:lnTo>
                    <a:pt x="90102" y="8591"/>
                  </a:lnTo>
                  <a:lnTo>
                    <a:pt x="90205" y="8591"/>
                  </a:lnTo>
                  <a:lnTo>
                    <a:pt x="90205" y="8693"/>
                  </a:lnTo>
                  <a:lnTo>
                    <a:pt x="91023" y="8693"/>
                  </a:lnTo>
                  <a:lnTo>
                    <a:pt x="90000" y="9102"/>
                  </a:lnTo>
                  <a:lnTo>
                    <a:pt x="91227" y="9205"/>
                  </a:lnTo>
                  <a:lnTo>
                    <a:pt x="90716" y="9205"/>
                  </a:lnTo>
                  <a:lnTo>
                    <a:pt x="91023" y="9409"/>
                  </a:lnTo>
                  <a:lnTo>
                    <a:pt x="91227" y="9716"/>
                  </a:lnTo>
                  <a:lnTo>
                    <a:pt x="88875" y="9614"/>
                  </a:lnTo>
                  <a:lnTo>
                    <a:pt x="91330" y="10125"/>
                  </a:lnTo>
                  <a:lnTo>
                    <a:pt x="90511" y="10739"/>
                  </a:lnTo>
                  <a:lnTo>
                    <a:pt x="91023" y="10739"/>
                  </a:lnTo>
                  <a:lnTo>
                    <a:pt x="90511" y="10841"/>
                  </a:lnTo>
                  <a:lnTo>
                    <a:pt x="90205" y="11148"/>
                  </a:lnTo>
                  <a:lnTo>
                    <a:pt x="90511" y="11148"/>
                  </a:lnTo>
                  <a:lnTo>
                    <a:pt x="88568" y="11557"/>
                  </a:lnTo>
                  <a:lnTo>
                    <a:pt x="90102" y="11455"/>
                  </a:lnTo>
                  <a:lnTo>
                    <a:pt x="88057" y="12170"/>
                  </a:lnTo>
                  <a:lnTo>
                    <a:pt x="90102" y="11966"/>
                  </a:lnTo>
                  <a:lnTo>
                    <a:pt x="89898" y="12068"/>
                  </a:lnTo>
                  <a:lnTo>
                    <a:pt x="90205" y="12273"/>
                  </a:lnTo>
                  <a:lnTo>
                    <a:pt x="88261" y="12273"/>
                  </a:lnTo>
                  <a:lnTo>
                    <a:pt x="87955" y="12784"/>
                  </a:lnTo>
                  <a:lnTo>
                    <a:pt x="88773" y="12784"/>
                  </a:lnTo>
                  <a:lnTo>
                    <a:pt x="87648" y="13500"/>
                  </a:lnTo>
                  <a:lnTo>
                    <a:pt x="89489" y="12784"/>
                  </a:lnTo>
                  <a:lnTo>
                    <a:pt x="89489" y="12784"/>
                  </a:lnTo>
                  <a:lnTo>
                    <a:pt x="87750" y="13602"/>
                  </a:lnTo>
                  <a:lnTo>
                    <a:pt x="87852" y="13602"/>
                  </a:lnTo>
                  <a:lnTo>
                    <a:pt x="87750" y="14011"/>
                  </a:lnTo>
                  <a:lnTo>
                    <a:pt x="89182" y="13807"/>
                  </a:lnTo>
                  <a:lnTo>
                    <a:pt x="88261" y="14114"/>
                  </a:lnTo>
                  <a:lnTo>
                    <a:pt x="88057" y="15239"/>
                  </a:lnTo>
                  <a:lnTo>
                    <a:pt x="88773" y="14727"/>
                  </a:lnTo>
                  <a:lnTo>
                    <a:pt x="89080" y="14318"/>
                  </a:lnTo>
                  <a:lnTo>
                    <a:pt x="89489" y="15034"/>
                  </a:lnTo>
                  <a:lnTo>
                    <a:pt x="88466" y="15034"/>
                  </a:lnTo>
                  <a:lnTo>
                    <a:pt x="88364" y="15341"/>
                  </a:lnTo>
                  <a:lnTo>
                    <a:pt x="89080" y="15136"/>
                  </a:lnTo>
                  <a:lnTo>
                    <a:pt x="88977" y="15239"/>
                  </a:lnTo>
                  <a:lnTo>
                    <a:pt x="89182" y="15239"/>
                  </a:lnTo>
                  <a:lnTo>
                    <a:pt x="88261" y="15443"/>
                  </a:lnTo>
                  <a:lnTo>
                    <a:pt x="88568" y="16466"/>
                  </a:lnTo>
                  <a:lnTo>
                    <a:pt x="89080" y="16261"/>
                  </a:lnTo>
                  <a:lnTo>
                    <a:pt x="88568" y="16773"/>
                  </a:lnTo>
                  <a:lnTo>
                    <a:pt x="89386" y="17182"/>
                  </a:lnTo>
                  <a:lnTo>
                    <a:pt x="88977" y="17591"/>
                  </a:lnTo>
                  <a:lnTo>
                    <a:pt x="89386" y="18205"/>
                  </a:lnTo>
                  <a:lnTo>
                    <a:pt x="89795" y="18205"/>
                  </a:lnTo>
                  <a:lnTo>
                    <a:pt x="89386" y="18409"/>
                  </a:lnTo>
                  <a:lnTo>
                    <a:pt x="89795" y="18409"/>
                  </a:lnTo>
                  <a:lnTo>
                    <a:pt x="89795" y="18307"/>
                  </a:lnTo>
                  <a:lnTo>
                    <a:pt x="91227" y="18000"/>
                  </a:lnTo>
                  <a:lnTo>
                    <a:pt x="91023" y="18614"/>
                  </a:lnTo>
                  <a:lnTo>
                    <a:pt x="91943" y="18511"/>
                  </a:lnTo>
                  <a:lnTo>
                    <a:pt x="91943" y="18511"/>
                  </a:lnTo>
                  <a:lnTo>
                    <a:pt x="91330" y="18920"/>
                  </a:lnTo>
                  <a:lnTo>
                    <a:pt x="91330" y="18920"/>
                  </a:lnTo>
                  <a:lnTo>
                    <a:pt x="92148" y="18818"/>
                  </a:lnTo>
                  <a:lnTo>
                    <a:pt x="92148" y="19227"/>
                  </a:lnTo>
                  <a:lnTo>
                    <a:pt x="92455" y="19227"/>
                  </a:lnTo>
                  <a:lnTo>
                    <a:pt x="92250" y="19125"/>
                  </a:lnTo>
                  <a:lnTo>
                    <a:pt x="92966" y="18920"/>
                  </a:lnTo>
                  <a:lnTo>
                    <a:pt x="92455" y="18614"/>
                  </a:lnTo>
                  <a:lnTo>
                    <a:pt x="93375" y="18409"/>
                  </a:lnTo>
                  <a:lnTo>
                    <a:pt x="93989" y="17591"/>
                  </a:lnTo>
                  <a:lnTo>
                    <a:pt x="93784" y="17489"/>
                  </a:lnTo>
                  <a:lnTo>
                    <a:pt x="94091" y="17386"/>
                  </a:lnTo>
                  <a:lnTo>
                    <a:pt x="94295" y="16670"/>
                  </a:lnTo>
                  <a:lnTo>
                    <a:pt x="93784" y="16568"/>
                  </a:lnTo>
                  <a:lnTo>
                    <a:pt x="94807" y="16364"/>
                  </a:lnTo>
                  <a:lnTo>
                    <a:pt x="94500" y="16159"/>
                  </a:lnTo>
                  <a:lnTo>
                    <a:pt x="95830" y="15648"/>
                  </a:lnTo>
                  <a:lnTo>
                    <a:pt x="95830" y="15239"/>
                  </a:lnTo>
                  <a:lnTo>
                    <a:pt x="95216" y="15136"/>
                  </a:lnTo>
                  <a:lnTo>
                    <a:pt x="96136" y="15034"/>
                  </a:lnTo>
                  <a:lnTo>
                    <a:pt x="95830" y="14625"/>
                  </a:lnTo>
                  <a:lnTo>
                    <a:pt x="96955" y="14216"/>
                  </a:lnTo>
                  <a:lnTo>
                    <a:pt x="96545" y="14011"/>
                  </a:lnTo>
                  <a:lnTo>
                    <a:pt x="98489" y="13398"/>
                  </a:lnTo>
                  <a:lnTo>
                    <a:pt x="98182" y="13295"/>
                  </a:lnTo>
                  <a:lnTo>
                    <a:pt x="98795" y="13295"/>
                  </a:lnTo>
                  <a:lnTo>
                    <a:pt x="98386" y="13909"/>
                  </a:lnTo>
                  <a:lnTo>
                    <a:pt x="99205" y="13602"/>
                  </a:lnTo>
                  <a:lnTo>
                    <a:pt x="99307" y="13705"/>
                  </a:lnTo>
                  <a:lnTo>
                    <a:pt x="102580" y="11659"/>
                  </a:lnTo>
                  <a:lnTo>
                    <a:pt x="102682" y="11455"/>
                  </a:lnTo>
                  <a:lnTo>
                    <a:pt x="109125" y="10227"/>
                  </a:lnTo>
                  <a:lnTo>
                    <a:pt x="109023" y="10227"/>
                  </a:lnTo>
                  <a:lnTo>
                    <a:pt x="109636" y="10023"/>
                  </a:lnTo>
                  <a:lnTo>
                    <a:pt x="106159" y="10023"/>
                  </a:lnTo>
                  <a:lnTo>
                    <a:pt x="106977" y="9716"/>
                  </a:lnTo>
                  <a:lnTo>
                    <a:pt x="105239" y="9716"/>
                  </a:lnTo>
                  <a:lnTo>
                    <a:pt x="105852" y="9205"/>
                  </a:lnTo>
                  <a:lnTo>
                    <a:pt x="107386" y="9205"/>
                  </a:lnTo>
                  <a:lnTo>
                    <a:pt x="106773" y="8693"/>
                  </a:lnTo>
                  <a:lnTo>
                    <a:pt x="108409" y="9102"/>
                  </a:lnTo>
                  <a:lnTo>
                    <a:pt x="109023" y="9716"/>
                  </a:lnTo>
                  <a:lnTo>
                    <a:pt x="109636" y="9307"/>
                  </a:lnTo>
                  <a:lnTo>
                    <a:pt x="109636" y="9716"/>
                  </a:lnTo>
                  <a:lnTo>
                    <a:pt x="110148" y="9307"/>
                  </a:lnTo>
                  <a:lnTo>
                    <a:pt x="110148" y="8795"/>
                  </a:lnTo>
                  <a:lnTo>
                    <a:pt x="109739" y="9000"/>
                  </a:lnTo>
                  <a:lnTo>
                    <a:pt x="110148" y="8591"/>
                  </a:lnTo>
                  <a:lnTo>
                    <a:pt x="108205" y="8080"/>
                  </a:lnTo>
                  <a:lnTo>
                    <a:pt x="108511" y="7977"/>
                  </a:lnTo>
                  <a:lnTo>
                    <a:pt x="108307" y="7670"/>
                  </a:lnTo>
                  <a:lnTo>
                    <a:pt x="107284" y="7773"/>
                  </a:lnTo>
                  <a:lnTo>
                    <a:pt x="107284" y="7773"/>
                  </a:lnTo>
                  <a:lnTo>
                    <a:pt x="108211" y="7587"/>
                  </a:lnTo>
                  <a:lnTo>
                    <a:pt x="108211" y="7587"/>
                  </a:lnTo>
                  <a:lnTo>
                    <a:pt x="106875" y="7466"/>
                  </a:lnTo>
                  <a:lnTo>
                    <a:pt x="107489" y="7364"/>
                  </a:lnTo>
                  <a:lnTo>
                    <a:pt x="107080" y="7159"/>
                  </a:lnTo>
                  <a:lnTo>
                    <a:pt x="108716" y="7159"/>
                  </a:lnTo>
                  <a:lnTo>
                    <a:pt x="108307" y="6852"/>
                  </a:lnTo>
                  <a:lnTo>
                    <a:pt x="111375" y="7159"/>
                  </a:lnTo>
                  <a:lnTo>
                    <a:pt x="111068" y="6750"/>
                  </a:lnTo>
                  <a:lnTo>
                    <a:pt x="110352" y="6750"/>
                  </a:lnTo>
                  <a:lnTo>
                    <a:pt x="110352" y="6545"/>
                  </a:lnTo>
                  <a:lnTo>
                    <a:pt x="110659" y="6239"/>
                  </a:lnTo>
                  <a:lnTo>
                    <a:pt x="110557" y="6545"/>
                  </a:lnTo>
                  <a:lnTo>
                    <a:pt x="112295" y="6443"/>
                  </a:lnTo>
                  <a:lnTo>
                    <a:pt x="111989" y="6034"/>
                  </a:lnTo>
                  <a:lnTo>
                    <a:pt x="111273" y="6239"/>
                  </a:lnTo>
                  <a:lnTo>
                    <a:pt x="111273" y="5830"/>
                  </a:lnTo>
                  <a:lnTo>
                    <a:pt x="110557" y="5830"/>
                  </a:lnTo>
                  <a:lnTo>
                    <a:pt x="111784" y="5727"/>
                  </a:lnTo>
                  <a:lnTo>
                    <a:pt x="112091" y="5830"/>
                  </a:lnTo>
                  <a:lnTo>
                    <a:pt x="112193" y="5011"/>
                  </a:lnTo>
                  <a:lnTo>
                    <a:pt x="111375" y="4909"/>
                  </a:lnTo>
                  <a:lnTo>
                    <a:pt x="111068" y="4705"/>
                  </a:lnTo>
                  <a:lnTo>
                    <a:pt x="110659" y="4602"/>
                  </a:lnTo>
                  <a:lnTo>
                    <a:pt x="113011" y="4500"/>
                  </a:lnTo>
                  <a:lnTo>
                    <a:pt x="113216" y="4091"/>
                  </a:lnTo>
                  <a:lnTo>
                    <a:pt x="111989" y="3886"/>
                  </a:lnTo>
                  <a:lnTo>
                    <a:pt x="112807" y="3886"/>
                  </a:lnTo>
                  <a:lnTo>
                    <a:pt x="111580" y="3784"/>
                  </a:lnTo>
                  <a:lnTo>
                    <a:pt x="112091" y="3170"/>
                  </a:lnTo>
                  <a:lnTo>
                    <a:pt x="111989" y="3068"/>
                  </a:lnTo>
                  <a:lnTo>
                    <a:pt x="113114" y="2557"/>
                  </a:lnTo>
                  <a:lnTo>
                    <a:pt x="112909" y="2352"/>
                  </a:lnTo>
                  <a:lnTo>
                    <a:pt x="113216" y="1943"/>
                  </a:lnTo>
                  <a:lnTo>
                    <a:pt x="115261" y="1841"/>
                  </a:lnTo>
                  <a:lnTo>
                    <a:pt x="114750" y="1739"/>
                  </a:lnTo>
                  <a:lnTo>
                    <a:pt x="116284" y="1534"/>
                  </a:lnTo>
                  <a:lnTo>
                    <a:pt x="116080" y="1432"/>
                  </a:lnTo>
                  <a:lnTo>
                    <a:pt x="117818" y="1125"/>
                  </a:lnTo>
                  <a:lnTo>
                    <a:pt x="111273" y="1636"/>
                  </a:lnTo>
                  <a:lnTo>
                    <a:pt x="111273" y="1636"/>
                  </a:lnTo>
                  <a:lnTo>
                    <a:pt x="112398" y="1125"/>
                  </a:lnTo>
                  <a:lnTo>
                    <a:pt x="107898" y="818"/>
                  </a:lnTo>
                  <a:lnTo>
                    <a:pt x="112500" y="409"/>
                  </a:lnTo>
                  <a:lnTo>
                    <a:pt x="106977" y="205"/>
                  </a:lnTo>
                  <a:lnTo>
                    <a:pt x="110352" y="0"/>
                  </a:lnTo>
                  <a:close/>
                  <a:moveTo>
                    <a:pt x="5114" y="22807"/>
                  </a:moveTo>
                  <a:lnTo>
                    <a:pt x="5069" y="22823"/>
                  </a:lnTo>
                  <a:lnTo>
                    <a:pt x="5069" y="22823"/>
                  </a:lnTo>
                  <a:lnTo>
                    <a:pt x="5011" y="22909"/>
                  </a:lnTo>
                  <a:lnTo>
                    <a:pt x="5114" y="22807"/>
                  </a:lnTo>
                  <a:close/>
                  <a:moveTo>
                    <a:pt x="133057" y="23011"/>
                  </a:moveTo>
                  <a:lnTo>
                    <a:pt x="132955" y="23216"/>
                  </a:lnTo>
                  <a:lnTo>
                    <a:pt x="132443" y="23216"/>
                  </a:lnTo>
                  <a:lnTo>
                    <a:pt x="132955" y="23727"/>
                  </a:lnTo>
                  <a:lnTo>
                    <a:pt x="133261" y="23727"/>
                  </a:lnTo>
                  <a:lnTo>
                    <a:pt x="133568" y="23216"/>
                  </a:lnTo>
                  <a:lnTo>
                    <a:pt x="133057" y="23011"/>
                  </a:lnTo>
                  <a:close/>
                  <a:moveTo>
                    <a:pt x="1125" y="23625"/>
                  </a:moveTo>
                  <a:lnTo>
                    <a:pt x="102" y="24034"/>
                  </a:lnTo>
                  <a:lnTo>
                    <a:pt x="1120" y="23634"/>
                  </a:lnTo>
                  <a:lnTo>
                    <a:pt x="1120" y="23634"/>
                  </a:lnTo>
                  <a:lnTo>
                    <a:pt x="1125" y="23625"/>
                  </a:lnTo>
                  <a:close/>
                  <a:moveTo>
                    <a:pt x="102" y="24034"/>
                  </a:moveTo>
                  <a:lnTo>
                    <a:pt x="102" y="24034"/>
                  </a:lnTo>
                  <a:lnTo>
                    <a:pt x="102" y="24034"/>
                  </a:lnTo>
                  <a:close/>
                  <a:moveTo>
                    <a:pt x="138170" y="24136"/>
                  </a:moveTo>
                  <a:lnTo>
                    <a:pt x="138375" y="24239"/>
                  </a:lnTo>
                  <a:lnTo>
                    <a:pt x="138477" y="24239"/>
                  </a:lnTo>
                  <a:lnTo>
                    <a:pt x="138170" y="24136"/>
                  </a:lnTo>
                  <a:close/>
                  <a:moveTo>
                    <a:pt x="118534" y="23523"/>
                  </a:moveTo>
                  <a:lnTo>
                    <a:pt x="118636" y="23625"/>
                  </a:lnTo>
                  <a:lnTo>
                    <a:pt x="118330" y="23932"/>
                  </a:lnTo>
                  <a:lnTo>
                    <a:pt x="118330" y="23727"/>
                  </a:lnTo>
                  <a:lnTo>
                    <a:pt x="117818" y="23830"/>
                  </a:lnTo>
                  <a:lnTo>
                    <a:pt x="117511" y="24239"/>
                  </a:lnTo>
                  <a:lnTo>
                    <a:pt x="117920" y="24239"/>
                  </a:lnTo>
                  <a:lnTo>
                    <a:pt x="117614" y="24648"/>
                  </a:lnTo>
                  <a:lnTo>
                    <a:pt x="116489" y="24750"/>
                  </a:lnTo>
                  <a:lnTo>
                    <a:pt x="116591" y="24852"/>
                  </a:lnTo>
                  <a:lnTo>
                    <a:pt x="116591" y="25057"/>
                  </a:lnTo>
                  <a:lnTo>
                    <a:pt x="116795" y="24955"/>
                  </a:lnTo>
                  <a:lnTo>
                    <a:pt x="116693" y="25261"/>
                  </a:lnTo>
                  <a:lnTo>
                    <a:pt x="116386" y="25364"/>
                  </a:lnTo>
                  <a:lnTo>
                    <a:pt x="116386" y="25466"/>
                  </a:lnTo>
                  <a:lnTo>
                    <a:pt x="116591" y="25466"/>
                  </a:lnTo>
                  <a:lnTo>
                    <a:pt x="116591" y="25568"/>
                  </a:lnTo>
                  <a:lnTo>
                    <a:pt x="117307" y="25670"/>
                  </a:lnTo>
                  <a:lnTo>
                    <a:pt x="116489" y="26284"/>
                  </a:lnTo>
                  <a:lnTo>
                    <a:pt x="116489" y="26284"/>
                  </a:lnTo>
                  <a:lnTo>
                    <a:pt x="117409" y="26182"/>
                  </a:lnTo>
                  <a:lnTo>
                    <a:pt x="116489" y="26489"/>
                  </a:lnTo>
                  <a:lnTo>
                    <a:pt x="116591" y="26591"/>
                  </a:lnTo>
                  <a:lnTo>
                    <a:pt x="116080" y="26693"/>
                  </a:lnTo>
                  <a:lnTo>
                    <a:pt x="116489" y="26693"/>
                  </a:lnTo>
                  <a:lnTo>
                    <a:pt x="116080" y="27000"/>
                  </a:lnTo>
                  <a:lnTo>
                    <a:pt x="116693" y="27000"/>
                  </a:lnTo>
                  <a:lnTo>
                    <a:pt x="116284" y="27205"/>
                  </a:lnTo>
                  <a:lnTo>
                    <a:pt x="116284" y="27205"/>
                  </a:lnTo>
                  <a:lnTo>
                    <a:pt x="116693" y="27102"/>
                  </a:lnTo>
                  <a:lnTo>
                    <a:pt x="116489" y="27307"/>
                  </a:lnTo>
                  <a:lnTo>
                    <a:pt x="119250" y="26591"/>
                  </a:lnTo>
                  <a:lnTo>
                    <a:pt x="119148" y="26489"/>
                  </a:lnTo>
                  <a:lnTo>
                    <a:pt x="119455" y="24852"/>
                  </a:lnTo>
                  <a:lnTo>
                    <a:pt x="119352" y="24750"/>
                  </a:lnTo>
                  <a:lnTo>
                    <a:pt x="119966" y="24545"/>
                  </a:lnTo>
                  <a:lnTo>
                    <a:pt x="119864" y="24341"/>
                  </a:lnTo>
                  <a:lnTo>
                    <a:pt x="119659" y="24239"/>
                  </a:lnTo>
                  <a:lnTo>
                    <a:pt x="119455" y="23727"/>
                  </a:lnTo>
                  <a:lnTo>
                    <a:pt x="118636" y="23830"/>
                  </a:lnTo>
                  <a:lnTo>
                    <a:pt x="118841" y="23625"/>
                  </a:lnTo>
                  <a:lnTo>
                    <a:pt x="118534" y="23523"/>
                  </a:lnTo>
                  <a:close/>
                  <a:moveTo>
                    <a:pt x="121398" y="20455"/>
                  </a:moveTo>
                  <a:lnTo>
                    <a:pt x="120477" y="20761"/>
                  </a:lnTo>
                  <a:lnTo>
                    <a:pt x="119966" y="21682"/>
                  </a:lnTo>
                  <a:lnTo>
                    <a:pt x="119761" y="22091"/>
                  </a:lnTo>
                  <a:lnTo>
                    <a:pt x="119864" y="22091"/>
                  </a:lnTo>
                  <a:lnTo>
                    <a:pt x="119557" y="22295"/>
                  </a:lnTo>
                  <a:lnTo>
                    <a:pt x="120273" y="22193"/>
                  </a:lnTo>
                  <a:lnTo>
                    <a:pt x="119966" y="23523"/>
                  </a:lnTo>
                  <a:lnTo>
                    <a:pt x="120170" y="23011"/>
                  </a:lnTo>
                  <a:lnTo>
                    <a:pt x="120580" y="22807"/>
                  </a:lnTo>
                  <a:lnTo>
                    <a:pt x="120682" y="23011"/>
                  </a:lnTo>
                  <a:lnTo>
                    <a:pt x="120375" y="24239"/>
                  </a:lnTo>
                  <a:lnTo>
                    <a:pt x="121807" y="23932"/>
                  </a:lnTo>
                  <a:lnTo>
                    <a:pt x="122011" y="25568"/>
                  </a:lnTo>
                  <a:lnTo>
                    <a:pt x="120580" y="26080"/>
                  </a:lnTo>
                  <a:lnTo>
                    <a:pt x="120580" y="26080"/>
                  </a:lnTo>
                  <a:lnTo>
                    <a:pt x="120989" y="25977"/>
                  </a:lnTo>
                  <a:lnTo>
                    <a:pt x="121091" y="26284"/>
                  </a:lnTo>
                  <a:lnTo>
                    <a:pt x="120068" y="27000"/>
                  </a:lnTo>
                  <a:lnTo>
                    <a:pt x="120989" y="27205"/>
                  </a:lnTo>
                  <a:lnTo>
                    <a:pt x="120886" y="27307"/>
                  </a:lnTo>
                  <a:lnTo>
                    <a:pt x="121602" y="27409"/>
                  </a:lnTo>
                  <a:lnTo>
                    <a:pt x="122216" y="27102"/>
                  </a:lnTo>
                  <a:lnTo>
                    <a:pt x="121602" y="27614"/>
                  </a:lnTo>
                  <a:lnTo>
                    <a:pt x="120989" y="27614"/>
                  </a:lnTo>
                  <a:lnTo>
                    <a:pt x="119761" y="28739"/>
                  </a:lnTo>
                  <a:lnTo>
                    <a:pt x="120068" y="28841"/>
                  </a:lnTo>
                  <a:lnTo>
                    <a:pt x="120375" y="28534"/>
                  </a:lnTo>
                  <a:lnTo>
                    <a:pt x="121091" y="28534"/>
                  </a:lnTo>
                  <a:lnTo>
                    <a:pt x="121807" y="28125"/>
                  </a:lnTo>
                  <a:lnTo>
                    <a:pt x="122625" y="28227"/>
                  </a:lnTo>
                  <a:lnTo>
                    <a:pt x="122523" y="28125"/>
                  </a:lnTo>
                  <a:lnTo>
                    <a:pt x="123136" y="28023"/>
                  </a:lnTo>
                  <a:lnTo>
                    <a:pt x="123034" y="27920"/>
                  </a:lnTo>
                  <a:lnTo>
                    <a:pt x="124773" y="27920"/>
                  </a:lnTo>
                  <a:lnTo>
                    <a:pt x="125182" y="27409"/>
                  </a:lnTo>
                  <a:lnTo>
                    <a:pt x="124466" y="27409"/>
                  </a:lnTo>
                  <a:lnTo>
                    <a:pt x="125080" y="26898"/>
                  </a:lnTo>
                  <a:lnTo>
                    <a:pt x="125284" y="25977"/>
                  </a:lnTo>
                  <a:lnTo>
                    <a:pt x="124159" y="25977"/>
                  </a:lnTo>
                  <a:lnTo>
                    <a:pt x="123648" y="25159"/>
                  </a:lnTo>
                  <a:lnTo>
                    <a:pt x="124261" y="25261"/>
                  </a:lnTo>
                  <a:lnTo>
                    <a:pt x="124261" y="25261"/>
                  </a:lnTo>
                  <a:lnTo>
                    <a:pt x="124057" y="24750"/>
                  </a:lnTo>
                  <a:lnTo>
                    <a:pt x="123239" y="24239"/>
                  </a:lnTo>
                  <a:lnTo>
                    <a:pt x="122932" y="23420"/>
                  </a:lnTo>
                  <a:lnTo>
                    <a:pt x="121295" y="22807"/>
                  </a:lnTo>
                  <a:lnTo>
                    <a:pt x="122011" y="22705"/>
                  </a:lnTo>
                  <a:lnTo>
                    <a:pt x="121705" y="22602"/>
                  </a:lnTo>
                  <a:lnTo>
                    <a:pt x="122318" y="22295"/>
                  </a:lnTo>
                  <a:lnTo>
                    <a:pt x="122830" y="21580"/>
                  </a:lnTo>
                  <a:lnTo>
                    <a:pt x="121091" y="21375"/>
                  </a:lnTo>
                  <a:lnTo>
                    <a:pt x="121295" y="21170"/>
                  </a:lnTo>
                  <a:lnTo>
                    <a:pt x="121193" y="21170"/>
                  </a:lnTo>
                  <a:lnTo>
                    <a:pt x="121807" y="20659"/>
                  </a:lnTo>
                  <a:lnTo>
                    <a:pt x="121398" y="20455"/>
                  </a:lnTo>
                  <a:close/>
                  <a:moveTo>
                    <a:pt x="23830" y="27920"/>
                  </a:moveTo>
                  <a:lnTo>
                    <a:pt x="23523" y="28330"/>
                  </a:lnTo>
                  <a:lnTo>
                    <a:pt x="24034" y="28227"/>
                  </a:lnTo>
                  <a:lnTo>
                    <a:pt x="23932" y="28432"/>
                  </a:lnTo>
                  <a:lnTo>
                    <a:pt x="23523" y="28534"/>
                  </a:lnTo>
                  <a:lnTo>
                    <a:pt x="23625" y="28534"/>
                  </a:lnTo>
                  <a:lnTo>
                    <a:pt x="23420" y="28739"/>
                  </a:lnTo>
                  <a:lnTo>
                    <a:pt x="23830" y="28739"/>
                  </a:lnTo>
                  <a:lnTo>
                    <a:pt x="23932" y="28636"/>
                  </a:lnTo>
                  <a:lnTo>
                    <a:pt x="24034" y="28943"/>
                  </a:lnTo>
                  <a:lnTo>
                    <a:pt x="24443" y="29148"/>
                  </a:lnTo>
                  <a:lnTo>
                    <a:pt x="24034" y="29455"/>
                  </a:lnTo>
                  <a:lnTo>
                    <a:pt x="24443" y="29455"/>
                  </a:lnTo>
                  <a:lnTo>
                    <a:pt x="24341" y="29557"/>
                  </a:lnTo>
                  <a:lnTo>
                    <a:pt x="24545" y="29659"/>
                  </a:lnTo>
                  <a:lnTo>
                    <a:pt x="24341" y="29761"/>
                  </a:lnTo>
                  <a:lnTo>
                    <a:pt x="25261" y="29557"/>
                  </a:lnTo>
                  <a:lnTo>
                    <a:pt x="25057" y="30273"/>
                  </a:lnTo>
                  <a:lnTo>
                    <a:pt x="25057" y="30273"/>
                  </a:lnTo>
                  <a:lnTo>
                    <a:pt x="25875" y="30170"/>
                  </a:lnTo>
                  <a:lnTo>
                    <a:pt x="25466" y="28534"/>
                  </a:lnTo>
                  <a:lnTo>
                    <a:pt x="23830" y="27920"/>
                  </a:lnTo>
                  <a:close/>
                  <a:moveTo>
                    <a:pt x="25875" y="30170"/>
                  </a:moveTo>
                  <a:lnTo>
                    <a:pt x="25875" y="30273"/>
                  </a:lnTo>
                  <a:lnTo>
                    <a:pt x="25977" y="30170"/>
                  </a:lnTo>
                  <a:close/>
                  <a:moveTo>
                    <a:pt x="72102" y="30989"/>
                  </a:moveTo>
                  <a:lnTo>
                    <a:pt x="72146" y="31003"/>
                  </a:lnTo>
                  <a:lnTo>
                    <a:pt x="72146" y="31003"/>
                  </a:lnTo>
                  <a:lnTo>
                    <a:pt x="72205" y="30989"/>
                  </a:lnTo>
                  <a:close/>
                  <a:moveTo>
                    <a:pt x="25568" y="31398"/>
                  </a:moveTo>
                  <a:lnTo>
                    <a:pt x="25364" y="31500"/>
                  </a:lnTo>
                  <a:lnTo>
                    <a:pt x="25364" y="31500"/>
                  </a:lnTo>
                  <a:lnTo>
                    <a:pt x="25466" y="31398"/>
                  </a:lnTo>
                  <a:close/>
                  <a:moveTo>
                    <a:pt x="80386" y="31500"/>
                  </a:moveTo>
                  <a:lnTo>
                    <a:pt x="80386" y="31500"/>
                  </a:lnTo>
                  <a:lnTo>
                    <a:pt x="80386" y="31500"/>
                  </a:lnTo>
                  <a:close/>
                  <a:moveTo>
                    <a:pt x="80693" y="27307"/>
                  </a:moveTo>
                  <a:lnTo>
                    <a:pt x="80182" y="27409"/>
                  </a:lnTo>
                  <a:lnTo>
                    <a:pt x="78136" y="29864"/>
                  </a:lnTo>
                  <a:lnTo>
                    <a:pt x="77625" y="29966"/>
                  </a:lnTo>
                  <a:lnTo>
                    <a:pt x="77318" y="30170"/>
                  </a:lnTo>
                  <a:lnTo>
                    <a:pt x="77420" y="30068"/>
                  </a:lnTo>
                  <a:lnTo>
                    <a:pt x="77011" y="30273"/>
                  </a:lnTo>
                  <a:lnTo>
                    <a:pt x="77727" y="30273"/>
                  </a:lnTo>
                  <a:lnTo>
                    <a:pt x="76705" y="30989"/>
                  </a:lnTo>
                  <a:lnTo>
                    <a:pt x="79466" y="30989"/>
                  </a:lnTo>
                  <a:lnTo>
                    <a:pt x="79159" y="31295"/>
                  </a:lnTo>
                  <a:lnTo>
                    <a:pt x="80284" y="31193"/>
                  </a:lnTo>
                  <a:lnTo>
                    <a:pt x="79261" y="32011"/>
                  </a:lnTo>
                  <a:lnTo>
                    <a:pt x="80489" y="31295"/>
                  </a:lnTo>
                  <a:lnTo>
                    <a:pt x="80386" y="31500"/>
                  </a:lnTo>
                  <a:lnTo>
                    <a:pt x="80795" y="30989"/>
                  </a:lnTo>
                  <a:lnTo>
                    <a:pt x="81000" y="31398"/>
                  </a:lnTo>
                  <a:lnTo>
                    <a:pt x="80591" y="32011"/>
                  </a:lnTo>
                  <a:lnTo>
                    <a:pt x="81102" y="31705"/>
                  </a:lnTo>
                  <a:lnTo>
                    <a:pt x="81000" y="32216"/>
                  </a:lnTo>
                  <a:lnTo>
                    <a:pt x="81000" y="32216"/>
                  </a:lnTo>
                  <a:lnTo>
                    <a:pt x="81409" y="32114"/>
                  </a:lnTo>
                  <a:lnTo>
                    <a:pt x="81920" y="31091"/>
                  </a:lnTo>
                  <a:lnTo>
                    <a:pt x="81511" y="31398"/>
                  </a:lnTo>
                  <a:lnTo>
                    <a:pt x="81920" y="30682"/>
                  </a:lnTo>
                  <a:lnTo>
                    <a:pt x="81205" y="31193"/>
                  </a:lnTo>
                  <a:lnTo>
                    <a:pt x="81205" y="31193"/>
                  </a:lnTo>
                  <a:lnTo>
                    <a:pt x="81307" y="30784"/>
                  </a:lnTo>
                  <a:lnTo>
                    <a:pt x="81102" y="30784"/>
                  </a:lnTo>
                  <a:lnTo>
                    <a:pt x="81920" y="30170"/>
                  </a:lnTo>
                  <a:lnTo>
                    <a:pt x="81920" y="30170"/>
                  </a:lnTo>
                  <a:lnTo>
                    <a:pt x="81000" y="30477"/>
                  </a:lnTo>
                  <a:lnTo>
                    <a:pt x="81409" y="30170"/>
                  </a:lnTo>
                  <a:lnTo>
                    <a:pt x="81205" y="30068"/>
                  </a:lnTo>
                  <a:lnTo>
                    <a:pt x="81307" y="29966"/>
                  </a:lnTo>
                  <a:lnTo>
                    <a:pt x="81102" y="30068"/>
                  </a:lnTo>
                  <a:lnTo>
                    <a:pt x="81716" y="29557"/>
                  </a:lnTo>
                  <a:lnTo>
                    <a:pt x="81000" y="29455"/>
                  </a:lnTo>
                  <a:lnTo>
                    <a:pt x="81102" y="29250"/>
                  </a:lnTo>
                  <a:lnTo>
                    <a:pt x="80284" y="29761"/>
                  </a:lnTo>
                  <a:lnTo>
                    <a:pt x="80489" y="29250"/>
                  </a:lnTo>
                  <a:lnTo>
                    <a:pt x="80489" y="29250"/>
                  </a:lnTo>
                  <a:lnTo>
                    <a:pt x="80284" y="29455"/>
                  </a:lnTo>
                  <a:lnTo>
                    <a:pt x="80386" y="29352"/>
                  </a:lnTo>
                  <a:lnTo>
                    <a:pt x="79773" y="29352"/>
                  </a:lnTo>
                  <a:lnTo>
                    <a:pt x="79977" y="29148"/>
                  </a:lnTo>
                  <a:lnTo>
                    <a:pt x="79773" y="29250"/>
                  </a:lnTo>
                  <a:lnTo>
                    <a:pt x="80386" y="28841"/>
                  </a:lnTo>
                  <a:lnTo>
                    <a:pt x="79261" y="29250"/>
                  </a:lnTo>
                  <a:lnTo>
                    <a:pt x="80489" y="27716"/>
                  </a:lnTo>
                  <a:lnTo>
                    <a:pt x="80591" y="27511"/>
                  </a:lnTo>
                  <a:lnTo>
                    <a:pt x="80898" y="27307"/>
                  </a:lnTo>
                  <a:close/>
                  <a:moveTo>
                    <a:pt x="239523" y="32216"/>
                  </a:moveTo>
                  <a:lnTo>
                    <a:pt x="240239" y="32830"/>
                  </a:lnTo>
                  <a:lnTo>
                    <a:pt x="239727" y="32318"/>
                  </a:lnTo>
                  <a:lnTo>
                    <a:pt x="239523" y="32216"/>
                  </a:lnTo>
                  <a:close/>
                  <a:moveTo>
                    <a:pt x="232875" y="24443"/>
                  </a:moveTo>
                  <a:lnTo>
                    <a:pt x="232773" y="24648"/>
                  </a:lnTo>
                  <a:lnTo>
                    <a:pt x="233591" y="25159"/>
                  </a:lnTo>
                  <a:lnTo>
                    <a:pt x="233489" y="25261"/>
                  </a:lnTo>
                  <a:lnTo>
                    <a:pt x="233386" y="25364"/>
                  </a:lnTo>
                  <a:lnTo>
                    <a:pt x="234511" y="27102"/>
                  </a:lnTo>
                  <a:lnTo>
                    <a:pt x="239216" y="32932"/>
                  </a:lnTo>
                  <a:lnTo>
                    <a:pt x="239114" y="32114"/>
                  </a:lnTo>
                  <a:lnTo>
                    <a:pt x="239523" y="32216"/>
                  </a:lnTo>
                  <a:lnTo>
                    <a:pt x="239523" y="32216"/>
                  </a:lnTo>
                  <a:lnTo>
                    <a:pt x="238193" y="31091"/>
                  </a:lnTo>
                  <a:lnTo>
                    <a:pt x="237784" y="29557"/>
                  </a:lnTo>
                  <a:lnTo>
                    <a:pt x="239318" y="30170"/>
                  </a:lnTo>
                  <a:lnTo>
                    <a:pt x="232875" y="24443"/>
                  </a:lnTo>
                  <a:close/>
                  <a:moveTo>
                    <a:pt x="244841" y="33341"/>
                  </a:moveTo>
                  <a:lnTo>
                    <a:pt x="244330" y="33443"/>
                  </a:lnTo>
                  <a:lnTo>
                    <a:pt x="244432" y="33648"/>
                  </a:lnTo>
                  <a:lnTo>
                    <a:pt x="244125" y="34364"/>
                  </a:lnTo>
                  <a:lnTo>
                    <a:pt x="244125" y="34466"/>
                  </a:lnTo>
                  <a:lnTo>
                    <a:pt x="244330" y="33955"/>
                  </a:lnTo>
                  <a:lnTo>
                    <a:pt x="245045" y="33545"/>
                  </a:lnTo>
                  <a:lnTo>
                    <a:pt x="244841" y="33341"/>
                  </a:lnTo>
                  <a:close/>
                  <a:moveTo>
                    <a:pt x="243409" y="34466"/>
                  </a:moveTo>
                  <a:lnTo>
                    <a:pt x="243409" y="35080"/>
                  </a:lnTo>
                  <a:lnTo>
                    <a:pt x="243614" y="35284"/>
                  </a:lnTo>
                  <a:lnTo>
                    <a:pt x="243920" y="34466"/>
                  </a:lnTo>
                  <a:close/>
                  <a:moveTo>
                    <a:pt x="54102" y="29864"/>
                  </a:moveTo>
                  <a:lnTo>
                    <a:pt x="56352" y="30886"/>
                  </a:lnTo>
                  <a:lnTo>
                    <a:pt x="56045" y="31193"/>
                  </a:lnTo>
                  <a:lnTo>
                    <a:pt x="56250" y="31602"/>
                  </a:lnTo>
                  <a:lnTo>
                    <a:pt x="56045" y="31807"/>
                  </a:lnTo>
                  <a:lnTo>
                    <a:pt x="56250" y="32011"/>
                  </a:lnTo>
                  <a:lnTo>
                    <a:pt x="56045" y="32114"/>
                  </a:lnTo>
                  <a:lnTo>
                    <a:pt x="56148" y="32114"/>
                  </a:lnTo>
                  <a:lnTo>
                    <a:pt x="55943" y="32318"/>
                  </a:lnTo>
                  <a:lnTo>
                    <a:pt x="58193" y="32727"/>
                  </a:lnTo>
                  <a:lnTo>
                    <a:pt x="58091" y="32830"/>
                  </a:lnTo>
                  <a:lnTo>
                    <a:pt x="58500" y="32830"/>
                  </a:lnTo>
                  <a:lnTo>
                    <a:pt x="58500" y="32932"/>
                  </a:lnTo>
                  <a:lnTo>
                    <a:pt x="58909" y="33239"/>
                  </a:lnTo>
                  <a:lnTo>
                    <a:pt x="59114" y="34057"/>
                  </a:lnTo>
                  <a:lnTo>
                    <a:pt x="59216" y="34057"/>
                  </a:lnTo>
                  <a:lnTo>
                    <a:pt x="59216" y="34159"/>
                  </a:lnTo>
                  <a:lnTo>
                    <a:pt x="59011" y="34057"/>
                  </a:lnTo>
                  <a:lnTo>
                    <a:pt x="58807" y="34364"/>
                  </a:lnTo>
                  <a:lnTo>
                    <a:pt x="58091" y="34261"/>
                  </a:lnTo>
                  <a:lnTo>
                    <a:pt x="57989" y="34159"/>
                  </a:lnTo>
                  <a:lnTo>
                    <a:pt x="58193" y="33955"/>
                  </a:lnTo>
                  <a:lnTo>
                    <a:pt x="58091" y="33955"/>
                  </a:lnTo>
                  <a:lnTo>
                    <a:pt x="58091" y="33648"/>
                  </a:lnTo>
                  <a:lnTo>
                    <a:pt x="57682" y="33648"/>
                  </a:lnTo>
                  <a:lnTo>
                    <a:pt x="56250" y="35898"/>
                  </a:lnTo>
                  <a:lnTo>
                    <a:pt x="56045" y="34875"/>
                  </a:lnTo>
                  <a:lnTo>
                    <a:pt x="55330" y="35182"/>
                  </a:lnTo>
                  <a:lnTo>
                    <a:pt x="55330" y="35182"/>
                  </a:lnTo>
                  <a:lnTo>
                    <a:pt x="56352" y="33750"/>
                  </a:lnTo>
                  <a:lnTo>
                    <a:pt x="56250" y="33443"/>
                  </a:lnTo>
                  <a:lnTo>
                    <a:pt x="55330" y="33136"/>
                  </a:lnTo>
                  <a:lnTo>
                    <a:pt x="54409" y="34159"/>
                  </a:lnTo>
                  <a:lnTo>
                    <a:pt x="54614" y="33648"/>
                  </a:lnTo>
                  <a:lnTo>
                    <a:pt x="52568" y="36818"/>
                  </a:lnTo>
                  <a:lnTo>
                    <a:pt x="51545" y="37125"/>
                  </a:lnTo>
                  <a:lnTo>
                    <a:pt x="52773" y="34364"/>
                  </a:lnTo>
                  <a:lnTo>
                    <a:pt x="52364" y="34364"/>
                  </a:lnTo>
                  <a:lnTo>
                    <a:pt x="53693" y="32932"/>
                  </a:lnTo>
                  <a:lnTo>
                    <a:pt x="53693" y="33136"/>
                  </a:lnTo>
                  <a:lnTo>
                    <a:pt x="54102" y="32932"/>
                  </a:lnTo>
                  <a:lnTo>
                    <a:pt x="53898" y="33239"/>
                  </a:lnTo>
                  <a:lnTo>
                    <a:pt x="53898" y="33239"/>
                  </a:lnTo>
                  <a:lnTo>
                    <a:pt x="55125" y="32727"/>
                  </a:lnTo>
                  <a:lnTo>
                    <a:pt x="55534" y="32932"/>
                  </a:lnTo>
                  <a:lnTo>
                    <a:pt x="55636" y="32830"/>
                  </a:lnTo>
                  <a:lnTo>
                    <a:pt x="56250" y="32830"/>
                  </a:lnTo>
                  <a:lnTo>
                    <a:pt x="55534" y="32318"/>
                  </a:lnTo>
                  <a:lnTo>
                    <a:pt x="55739" y="32114"/>
                  </a:lnTo>
                  <a:lnTo>
                    <a:pt x="53693" y="32318"/>
                  </a:lnTo>
                  <a:lnTo>
                    <a:pt x="53591" y="32011"/>
                  </a:lnTo>
                  <a:lnTo>
                    <a:pt x="52977" y="32011"/>
                  </a:lnTo>
                  <a:lnTo>
                    <a:pt x="52977" y="31602"/>
                  </a:lnTo>
                  <a:lnTo>
                    <a:pt x="50830" y="32216"/>
                  </a:lnTo>
                  <a:lnTo>
                    <a:pt x="50830" y="31909"/>
                  </a:lnTo>
                  <a:lnTo>
                    <a:pt x="50011" y="32011"/>
                  </a:lnTo>
                  <a:lnTo>
                    <a:pt x="53489" y="30273"/>
                  </a:lnTo>
                  <a:lnTo>
                    <a:pt x="53489" y="30273"/>
                  </a:lnTo>
                  <a:lnTo>
                    <a:pt x="53693" y="30068"/>
                  </a:lnTo>
                  <a:lnTo>
                    <a:pt x="53898" y="30068"/>
                  </a:lnTo>
                  <a:lnTo>
                    <a:pt x="53591" y="30375"/>
                  </a:lnTo>
                  <a:lnTo>
                    <a:pt x="54102" y="30068"/>
                  </a:lnTo>
                  <a:lnTo>
                    <a:pt x="54102" y="29864"/>
                  </a:lnTo>
                  <a:close/>
                  <a:moveTo>
                    <a:pt x="131932" y="36000"/>
                  </a:moveTo>
                  <a:lnTo>
                    <a:pt x="131830" y="36205"/>
                  </a:lnTo>
                  <a:lnTo>
                    <a:pt x="131216" y="36511"/>
                  </a:lnTo>
                  <a:lnTo>
                    <a:pt x="131318" y="36614"/>
                  </a:lnTo>
                  <a:lnTo>
                    <a:pt x="131318" y="37023"/>
                  </a:lnTo>
                  <a:lnTo>
                    <a:pt x="131830" y="37432"/>
                  </a:lnTo>
                  <a:lnTo>
                    <a:pt x="131932" y="36000"/>
                  </a:lnTo>
                  <a:close/>
                  <a:moveTo>
                    <a:pt x="239216" y="33443"/>
                  </a:moveTo>
                  <a:lnTo>
                    <a:pt x="240341" y="35693"/>
                  </a:lnTo>
                  <a:lnTo>
                    <a:pt x="239625" y="35591"/>
                  </a:lnTo>
                  <a:lnTo>
                    <a:pt x="239625" y="36205"/>
                  </a:lnTo>
                  <a:lnTo>
                    <a:pt x="240750" y="37432"/>
                  </a:lnTo>
                  <a:lnTo>
                    <a:pt x="240750" y="37125"/>
                  </a:lnTo>
                  <a:lnTo>
                    <a:pt x="241159" y="37125"/>
                  </a:lnTo>
                  <a:lnTo>
                    <a:pt x="240239" y="36614"/>
                  </a:lnTo>
                  <a:lnTo>
                    <a:pt x="240341" y="36307"/>
                  </a:lnTo>
                  <a:lnTo>
                    <a:pt x="240750" y="36511"/>
                  </a:lnTo>
                  <a:lnTo>
                    <a:pt x="241364" y="36409"/>
                  </a:lnTo>
                  <a:lnTo>
                    <a:pt x="242795" y="36920"/>
                  </a:lnTo>
                  <a:lnTo>
                    <a:pt x="242693" y="36409"/>
                  </a:lnTo>
                  <a:lnTo>
                    <a:pt x="244023" y="35489"/>
                  </a:lnTo>
                  <a:lnTo>
                    <a:pt x="243716" y="35591"/>
                  </a:lnTo>
                  <a:lnTo>
                    <a:pt x="243205" y="35284"/>
                  </a:lnTo>
                  <a:lnTo>
                    <a:pt x="242898" y="34568"/>
                  </a:lnTo>
                  <a:lnTo>
                    <a:pt x="242284" y="34875"/>
                  </a:lnTo>
                  <a:lnTo>
                    <a:pt x="239216" y="33443"/>
                  </a:lnTo>
                  <a:close/>
                  <a:moveTo>
                    <a:pt x="143693" y="38659"/>
                  </a:moveTo>
                  <a:lnTo>
                    <a:pt x="144000" y="38864"/>
                  </a:lnTo>
                  <a:lnTo>
                    <a:pt x="143740" y="38678"/>
                  </a:lnTo>
                  <a:lnTo>
                    <a:pt x="143740" y="38678"/>
                  </a:lnTo>
                  <a:lnTo>
                    <a:pt x="143693" y="38659"/>
                  </a:lnTo>
                  <a:close/>
                  <a:moveTo>
                    <a:pt x="155250" y="31602"/>
                  </a:moveTo>
                  <a:lnTo>
                    <a:pt x="155148" y="31705"/>
                  </a:lnTo>
                  <a:lnTo>
                    <a:pt x="155659" y="31705"/>
                  </a:lnTo>
                  <a:lnTo>
                    <a:pt x="155148" y="32011"/>
                  </a:lnTo>
                  <a:lnTo>
                    <a:pt x="155148" y="32216"/>
                  </a:lnTo>
                  <a:lnTo>
                    <a:pt x="154636" y="32216"/>
                  </a:lnTo>
                  <a:lnTo>
                    <a:pt x="155250" y="32727"/>
                  </a:lnTo>
                  <a:lnTo>
                    <a:pt x="154943" y="32932"/>
                  </a:lnTo>
                  <a:lnTo>
                    <a:pt x="154739" y="33341"/>
                  </a:lnTo>
                  <a:lnTo>
                    <a:pt x="154023" y="33443"/>
                  </a:lnTo>
                  <a:lnTo>
                    <a:pt x="154125" y="33545"/>
                  </a:lnTo>
                  <a:lnTo>
                    <a:pt x="153920" y="33648"/>
                  </a:lnTo>
                  <a:lnTo>
                    <a:pt x="158318" y="36205"/>
                  </a:lnTo>
                  <a:lnTo>
                    <a:pt x="158318" y="37636"/>
                  </a:lnTo>
                  <a:lnTo>
                    <a:pt x="148398" y="37636"/>
                  </a:lnTo>
                  <a:lnTo>
                    <a:pt x="149011" y="38148"/>
                  </a:lnTo>
                  <a:lnTo>
                    <a:pt x="148193" y="38352"/>
                  </a:lnTo>
                  <a:lnTo>
                    <a:pt x="148398" y="38455"/>
                  </a:lnTo>
                  <a:lnTo>
                    <a:pt x="147477" y="38557"/>
                  </a:lnTo>
                  <a:lnTo>
                    <a:pt x="147273" y="38455"/>
                  </a:lnTo>
                  <a:lnTo>
                    <a:pt x="147273" y="38455"/>
                  </a:lnTo>
                  <a:lnTo>
                    <a:pt x="147375" y="38557"/>
                  </a:lnTo>
                  <a:lnTo>
                    <a:pt x="146761" y="38455"/>
                  </a:lnTo>
                  <a:lnTo>
                    <a:pt x="146045" y="38864"/>
                  </a:lnTo>
                  <a:lnTo>
                    <a:pt x="146045" y="38864"/>
                  </a:lnTo>
                  <a:lnTo>
                    <a:pt x="147580" y="37841"/>
                  </a:lnTo>
                  <a:lnTo>
                    <a:pt x="148091" y="37943"/>
                  </a:lnTo>
                  <a:lnTo>
                    <a:pt x="148091" y="37943"/>
                  </a:lnTo>
                  <a:lnTo>
                    <a:pt x="146864" y="36409"/>
                  </a:lnTo>
                  <a:lnTo>
                    <a:pt x="147682" y="34364"/>
                  </a:lnTo>
                  <a:lnTo>
                    <a:pt x="147886" y="33955"/>
                  </a:lnTo>
                  <a:lnTo>
                    <a:pt x="147886" y="34159"/>
                  </a:lnTo>
                  <a:lnTo>
                    <a:pt x="148295" y="33545"/>
                  </a:lnTo>
                  <a:lnTo>
                    <a:pt x="148193" y="33239"/>
                  </a:lnTo>
                  <a:lnTo>
                    <a:pt x="149523" y="32011"/>
                  </a:lnTo>
                  <a:lnTo>
                    <a:pt x="149830" y="32114"/>
                  </a:lnTo>
                  <a:lnTo>
                    <a:pt x="149625" y="31602"/>
                  </a:lnTo>
                  <a:lnTo>
                    <a:pt x="150443" y="32216"/>
                  </a:lnTo>
                  <a:lnTo>
                    <a:pt x="149625" y="32318"/>
                  </a:lnTo>
                  <a:lnTo>
                    <a:pt x="150341" y="32727"/>
                  </a:lnTo>
                  <a:lnTo>
                    <a:pt x="151159" y="32727"/>
                  </a:lnTo>
                  <a:lnTo>
                    <a:pt x="151261" y="33034"/>
                  </a:lnTo>
                  <a:lnTo>
                    <a:pt x="150545" y="33443"/>
                  </a:lnTo>
                  <a:lnTo>
                    <a:pt x="151466" y="33852"/>
                  </a:lnTo>
                  <a:lnTo>
                    <a:pt x="151466" y="34364"/>
                  </a:lnTo>
                  <a:lnTo>
                    <a:pt x="152080" y="34364"/>
                  </a:lnTo>
                  <a:lnTo>
                    <a:pt x="153102" y="33750"/>
                  </a:lnTo>
                  <a:lnTo>
                    <a:pt x="153614" y="33852"/>
                  </a:lnTo>
                  <a:lnTo>
                    <a:pt x="153818" y="33443"/>
                  </a:lnTo>
                  <a:lnTo>
                    <a:pt x="152795" y="33443"/>
                  </a:lnTo>
                  <a:lnTo>
                    <a:pt x="152386" y="32830"/>
                  </a:lnTo>
                  <a:lnTo>
                    <a:pt x="152591" y="32420"/>
                  </a:lnTo>
                  <a:lnTo>
                    <a:pt x="152489" y="32727"/>
                  </a:lnTo>
                  <a:lnTo>
                    <a:pt x="152489" y="32727"/>
                  </a:lnTo>
                  <a:lnTo>
                    <a:pt x="155250" y="31602"/>
                  </a:lnTo>
                  <a:close/>
                  <a:moveTo>
                    <a:pt x="144000" y="38864"/>
                  </a:moveTo>
                  <a:lnTo>
                    <a:pt x="144000" y="38864"/>
                  </a:lnTo>
                  <a:lnTo>
                    <a:pt x="144000" y="38864"/>
                  </a:lnTo>
                  <a:close/>
                  <a:moveTo>
                    <a:pt x="144000" y="38864"/>
                  </a:moveTo>
                  <a:lnTo>
                    <a:pt x="144000" y="38864"/>
                  </a:lnTo>
                  <a:lnTo>
                    <a:pt x="144000" y="38864"/>
                  </a:lnTo>
                  <a:close/>
                  <a:moveTo>
                    <a:pt x="131011" y="37943"/>
                  </a:moveTo>
                  <a:lnTo>
                    <a:pt x="131011" y="38250"/>
                  </a:lnTo>
                  <a:lnTo>
                    <a:pt x="131216" y="39580"/>
                  </a:lnTo>
                  <a:lnTo>
                    <a:pt x="132136" y="39682"/>
                  </a:lnTo>
                  <a:lnTo>
                    <a:pt x="132136" y="37943"/>
                  </a:lnTo>
                  <a:close/>
                  <a:moveTo>
                    <a:pt x="165580" y="31807"/>
                  </a:moveTo>
                  <a:lnTo>
                    <a:pt x="166091" y="32011"/>
                  </a:lnTo>
                  <a:lnTo>
                    <a:pt x="166295" y="31909"/>
                  </a:lnTo>
                  <a:lnTo>
                    <a:pt x="166705" y="31909"/>
                  </a:lnTo>
                  <a:lnTo>
                    <a:pt x="167420" y="33545"/>
                  </a:lnTo>
                  <a:lnTo>
                    <a:pt x="165886" y="33545"/>
                  </a:lnTo>
                  <a:lnTo>
                    <a:pt x="166193" y="34364"/>
                  </a:lnTo>
                  <a:lnTo>
                    <a:pt x="165273" y="34568"/>
                  </a:lnTo>
                  <a:lnTo>
                    <a:pt x="165682" y="34670"/>
                  </a:lnTo>
                  <a:lnTo>
                    <a:pt x="166398" y="35693"/>
                  </a:lnTo>
                  <a:lnTo>
                    <a:pt x="166705" y="35795"/>
                  </a:lnTo>
                  <a:lnTo>
                    <a:pt x="166909" y="36000"/>
                  </a:lnTo>
                  <a:lnTo>
                    <a:pt x="167420" y="36102"/>
                  </a:lnTo>
                  <a:lnTo>
                    <a:pt x="168136" y="37739"/>
                  </a:lnTo>
                  <a:lnTo>
                    <a:pt x="168136" y="36818"/>
                  </a:lnTo>
                  <a:lnTo>
                    <a:pt x="169670" y="37841"/>
                  </a:lnTo>
                  <a:lnTo>
                    <a:pt x="169466" y="38250"/>
                  </a:lnTo>
                  <a:lnTo>
                    <a:pt x="168239" y="37841"/>
                  </a:lnTo>
                  <a:lnTo>
                    <a:pt x="168648" y="39068"/>
                  </a:lnTo>
                  <a:lnTo>
                    <a:pt x="168955" y="38864"/>
                  </a:lnTo>
                  <a:lnTo>
                    <a:pt x="169159" y="39273"/>
                  </a:lnTo>
                  <a:lnTo>
                    <a:pt x="168852" y="39273"/>
                  </a:lnTo>
                  <a:lnTo>
                    <a:pt x="168852" y="39580"/>
                  </a:lnTo>
                  <a:lnTo>
                    <a:pt x="169261" y="39682"/>
                  </a:lnTo>
                  <a:lnTo>
                    <a:pt x="169773" y="42034"/>
                  </a:lnTo>
                  <a:lnTo>
                    <a:pt x="169977" y="42034"/>
                  </a:lnTo>
                  <a:lnTo>
                    <a:pt x="169773" y="42136"/>
                  </a:lnTo>
                  <a:lnTo>
                    <a:pt x="169773" y="42034"/>
                  </a:lnTo>
                  <a:lnTo>
                    <a:pt x="167420" y="42136"/>
                  </a:lnTo>
                  <a:lnTo>
                    <a:pt x="165580" y="41114"/>
                  </a:lnTo>
                  <a:lnTo>
                    <a:pt x="165375" y="39682"/>
                  </a:lnTo>
                  <a:lnTo>
                    <a:pt x="165375" y="39682"/>
                  </a:lnTo>
                  <a:lnTo>
                    <a:pt x="165477" y="39886"/>
                  </a:lnTo>
                  <a:lnTo>
                    <a:pt x="166295" y="38659"/>
                  </a:lnTo>
                  <a:lnTo>
                    <a:pt x="163227" y="35693"/>
                  </a:lnTo>
                  <a:lnTo>
                    <a:pt x="163227" y="35080"/>
                  </a:lnTo>
                  <a:lnTo>
                    <a:pt x="163125" y="35386"/>
                  </a:lnTo>
                  <a:lnTo>
                    <a:pt x="162307" y="34261"/>
                  </a:lnTo>
                  <a:lnTo>
                    <a:pt x="162409" y="34057"/>
                  </a:lnTo>
                  <a:lnTo>
                    <a:pt x="162511" y="34057"/>
                  </a:lnTo>
                  <a:lnTo>
                    <a:pt x="162614" y="33136"/>
                  </a:lnTo>
                  <a:lnTo>
                    <a:pt x="162818" y="33239"/>
                  </a:lnTo>
                  <a:lnTo>
                    <a:pt x="163636" y="32932"/>
                  </a:lnTo>
                  <a:lnTo>
                    <a:pt x="163534" y="32727"/>
                  </a:lnTo>
                  <a:lnTo>
                    <a:pt x="163943" y="32523"/>
                  </a:lnTo>
                  <a:lnTo>
                    <a:pt x="164045" y="32420"/>
                  </a:lnTo>
                  <a:lnTo>
                    <a:pt x="163943" y="32318"/>
                  </a:lnTo>
                  <a:lnTo>
                    <a:pt x="165580" y="31807"/>
                  </a:lnTo>
                  <a:close/>
                  <a:moveTo>
                    <a:pt x="137352" y="40602"/>
                  </a:moveTo>
                  <a:lnTo>
                    <a:pt x="135511" y="40807"/>
                  </a:lnTo>
                  <a:lnTo>
                    <a:pt x="134898" y="40705"/>
                  </a:lnTo>
                  <a:lnTo>
                    <a:pt x="137045" y="42239"/>
                  </a:lnTo>
                  <a:lnTo>
                    <a:pt x="137148" y="41932"/>
                  </a:lnTo>
                  <a:lnTo>
                    <a:pt x="137045" y="41625"/>
                  </a:lnTo>
                  <a:lnTo>
                    <a:pt x="137352" y="40602"/>
                  </a:lnTo>
                  <a:close/>
                  <a:moveTo>
                    <a:pt x="146659" y="43670"/>
                  </a:moveTo>
                  <a:lnTo>
                    <a:pt x="146148" y="43875"/>
                  </a:lnTo>
                  <a:lnTo>
                    <a:pt x="146250" y="43875"/>
                  </a:lnTo>
                  <a:lnTo>
                    <a:pt x="146659" y="43670"/>
                  </a:lnTo>
                  <a:close/>
                  <a:moveTo>
                    <a:pt x="144409" y="43364"/>
                  </a:moveTo>
                  <a:lnTo>
                    <a:pt x="144307" y="43466"/>
                  </a:lnTo>
                  <a:lnTo>
                    <a:pt x="144307" y="43773"/>
                  </a:lnTo>
                  <a:lnTo>
                    <a:pt x="145330" y="44080"/>
                  </a:lnTo>
                  <a:lnTo>
                    <a:pt x="146148" y="43875"/>
                  </a:lnTo>
                  <a:lnTo>
                    <a:pt x="146045" y="43670"/>
                  </a:lnTo>
                  <a:lnTo>
                    <a:pt x="144716" y="43568"/>
                  </a:lnTo>
                  <a:lnTo>
                    <a:pt x="144818" y="43466"/>
                  </a:lnTo>
                  <a:lnTo>
                    <a:pt x="144409" y="43364"/>
                  </a:lnTo>
                  <a:close/>
                  <a:moveTo>
                    <a:pt x="153614" y="43364"/>
                  </a:moveTo>
                  <a:lnTo>
                    <a:pt x="151773" y="43977"/>
                  </a:lnTo>
                  <a:lnTo>
                    <a:pt x="152489" y="44489"/>
                  </a:lnTo>
                  <a:lnTo>
                    <a:pt x="153307" y="44080"/>
                  </a:lnTo>
                  <a:lnTo>
                    <a:pt x="153614" y="43466"/>
                  </a:lnTo>
                  <a:lnTo>
                    <a:pt x="153614" y="43364"/>
                  </a:lnTo>
                  <a:close/>
                  <a:moveTo>
                    <a:pt x="241568" y="37534"/>
                  </a:moveTo>
                  <a:lnTo>
                    <a:pt x="241261" y="37636"/>
                  </a:lnTo>
                  <a:lnTo>
                    <a:pt x="241670" y="37739"/>
                  </a:lnTo>
                  <a:lnTo>
                    <a:pt x="241466" y="38045"/>
                  </a:lnTo>
                  <a:lnTo>
                    <a:pt x="240955" y="37636"/>
                  </a:lnTo>
                  <a:lnTo>
                    <a:pt x="241057" y="37943"/>
                  </a:lnTo>
                  <a:lnTo>
                    <a:pt x="240955" y="38148"/>
                  </a:lnTo>
                  <a:lnTo>
                    <a:pt x="241261" y="38864"/>
                  </a:lnTo>
                  <a:lnTo>
                    <a:pt x="241159" y="38864"/>
                  </a:lnTo>
                  <a:lnTo>
                    <a:pt x="241875" y="40807"/>
                  </a:lnTo>
                  <a:lnTo>
                    <a:pt x="241670" y="41114"/>
                  </a:lnTo>
                  <a:lnTo>
                    <a:pt x="241466" y="41727"/>
                  </a:lnTo>
                  <a:lnTo>
                    <a:pt x="240955" y="42136"/>
                  </a:lnTo>
                  <a:lnTo>
                    <a:pt x="240443" y="41932"/>
                  </a:lnTo>
                  <a:lnTo>
                    <a:pt x="240545" y="41420"/>
                  </a:lnTo>
                  <a:lnTo>
                    <a:pt x="240545" y="41420"/>
                  </a:lnTo>
                  <a:lnTo>
                    <a:pt x="240136" y="41727"/>
                  </a:lnTo>
                  <a:lnTo>
                    <a:pt x="240341" y="43261"/>
                  </a:lnTo>
                  <a:lnTo>
                    <a:pt x="239727" y="43466"/>
                  </a:lnTo>
                  <a:lnTo>
                    <a:pt x="239420" y="43364"/>
                  </a:lnTo>
                  <a:lnTo>
                    <a:pt x="237477" y="43977"/>
                  </a:lnTo>
                  <a:lnTo>
                    <a:pt x="236761" y="45102"/>
                  </a:lnTo>
                  <a:lnTo>
                    <a:pt x="237886" y="45205"/>
                  </a:lnTo>
                  <a:lnTo>
                    <a:pt x="237784" y="44795"/>
                  </a:lnTo>
                  <a:lnTo>
                    <a:pt x="240341" y="44489"/>
                  </a:lnTo>
                  <a:lnTo>
                    <a:pt x="240239" y="44795"/>
                  </a:lnTo>
                  <a:lnTo>
                    <a:pt x="240955" y="45614"/>
                  </a:lnTo>
                  <a:lnTo>
                    <a:pt x="241670" y="44795"/>
                  </a:lnTo>
                  <a:lnTo>
                    <a:pt x="241261" y="44080"/>
                  </a:lnTo>
                  <a:lnTo>
                    <a:pt x="241568" y="44386"/>
                  </a:lnTo>
                  <a:lnTo>
                    <a:pt x="241568" y="44182"/>
                  </a:lnTo>
                  <a:lnTo>
                    <a:pt x="241670" y="44489"/>
                  </a:lnTo>
                  <a:lnTo>
                    <a:pt x="242693" y="44489"/>
                  </a:lnTo>
                  <a:lnTo>
                    <a:pt x="243102" y="43977"/>
                  </a:lnTo>
                  <a:lnTo>
                    <a:pt x="243307" y="43977"/>
                  </a:lnTo>
                  <a:lnTo>
                    <a:pt x="243409" y="43773"/>
                  </a:lnTo>
                  <a:lnTo>
                    <a:pt x="243614" y="43773"/>
                  </a:lnTo>
                  <a:lnTo>
                    <a:pt x="243511" y="43364"/>
                  </a:lnTo>
                  <a:lnTo>
                    <a:pt x="243818" y="43466"/>
                  </a:lnTo>
                  <a:lnTo>
                    <a:pt x="243818" y="43773"/>
                  </a:lnTo>
                  <a:lnTo>
                    <a:pt x="244023" y="44182"/>
                  </a:lnTo>
                  <a:lnTo>
                    <a:pt x="244432" y="43261"/>
                  </a:lnTo>
                  <a:lnTo>
                    <a:pt x="244023" y="42852"/>
                  </a:lnTo>
                  <a:lnTo>
                    <a:pt x="243205" y="40602"/>
                  </a:lnTo>
                  <a:lnTo>
                    <a:pt x="243511" y="40500"/>
                  </a:lnTo>
                  <a:lnTo>
                    <a:pt x="243409" y="39886"/>
                  </a:lnTo>
                  <a:lnTo>
                    <a:pt x="243409" y="39784"/>
                  </a:lnTo>
                  <a:lnTo>
                    <a:pt x="241568" y="37534"/>
                  </a:lnTo>
                  <a:close/>
                  <a:moveTo>
                    <a:pt x="238909" y="44795"/>
                  </a:moveTo>
                  <a:lnTo>
                    <a:pt x="238807" y="45102"/>
                  </a:lnTo>
                  <a:lnTo>
                    <a:pt x="238398" y="45000"/>
                  </a:lnTo>
                  <a:lnTo>
                    <a:pt x="238295" y="45307"/>
                  </a:lnTo>
                  <a:lnTo>
                    <a:pt x="237989" y="45716"/>
                  </a:lnTo>
                  <a:lnTo>
                    <a:pt x="238398" y="45920"/>
                  </a:lnTo>
                  <a:lnTo>
                    <a:pt x="238705" y="46330"/>
                  </a:lnTo>
                  <a:lnTo>
                    <a:pt x="239523" y="45614"/>
                  </a:lnTo>
                  <a:lnTo>
                    <a:pt x="239830" y="45818"/>
                  </a:lnTo>
                  <a:lnTo>
                    <a:pt x="240034" y="45307"/>
                  </a:lnTo>
                  <a:lnTo>
                    <a:pt x="239625" y="44795"/>
                  </a:lnTo>
                  <a:close/>
                  <a:moveTo>
                    <a:pt x="151875" y="47659"/>
                  </a:moveTo>
                  <a:lnTo>
                    <a:pt x="151773" y="47761"/>
                  </a:lnTo>
                  <a:lnTo>
                    <a:pt x="152080" y="47864"/>
                  </a:lnTo>
                  <a:lnTo>
                    <a:pt x="151875" y="47659"/>
                  </a:lnTo>
                  <a:close/>
                  <a:moveTo>
                    <a:pt x="236455" y="45307"/>
                  </a:moveTo>
                  <a:lnTo>
                    <a:pt x="236045" y="45614"/>
                  </a:lnTo>
                  <a:lnTo>
                    <a:pt x="236045" y="45818"/>
                  </a:lnTo>
                  <a:lnTo>
                    <a:pt x="235943" y="45716"/>
                  </a:lnTo>
                  <a:lnTo>
                    <a:pt x="236352" y="46227"/>
                  </a:lnTo>
                  <a:lnTo>
                    <a:pt x="236045" y="46023"/>
                  </a:lnTo>
                  <a:lnTo>
                    <a:pt x="236352" y="46534"/>
                  </a:lnTo>
                  <a:lnTo>
                    <a:pt x="236659" y="46227"/>
                  </a:lnTo>
                  <a:lnTo>
                    <a:pt x="236455" y="46023"/>
                  </a:lnTo>
                  <a:lnTo>
                    <a:pt x="236659" y="46125"/>
                  </a:lnTo>
                  <a:lnTo>
                    <a:pt x="236966" y="46534"/>
                  </a:lnTo>
                  <a:lnTo>
                    <a:pt x="237068" y="47761"/>
                  </a:lnTo>
                  <a:lnTo>
                    <a:pt x="237580" y="47966"/>
                  </a:lnTo>
                  <a:lnTo>
                    <a:pt x="237580" y="47455"/>
                  </a:lnTo>
                  <a:lnTo>
                    <a:pt x="237784" y="48170"/>
                  </a:lnTo>
                  <a:lnTo>
                    <a:pt x="237886" y="47966"/>
                  </a:lnTo>
                  <a:lnTo>
                    <a:pt x="237886" y="47761"/>
                  </a:lnTo>
                  <a:lnTo>
                    <a:pt x="238193" y="47761"/>
                  </a:lnTo>
                  <a:lnTo>
                    <a:pt x="237886" y="45818"/>
                  </a:lnTo>
                  <a:lnTo>
                    <a:pt x="237580" y="45818"/>
                  </a:lnTo>
                  <a:lnTo>
                    <a:pt x="237477" y="45409"/>
                  </a:lnTo>
                  <a:lnTo>
                    <a:pt x="237273" y="45511"/>
                  </a:lnTo>
                  <a:lnTo>
                    <a:pt x="236864" y="45307"/>
                  </a:lnTo>
                  <a:close/>
                  <a:moveTo>
                    <a:pt x="49602" y="49398"/>
                  </a:moveTo>
                  <a:lnTo>
                    <a:pt x="49705" y="49500"/>
                  </a:lnTo>
                  <a:lnTo>
                    <a:pt x="49655" y="49401"/>
                  </a:lnTo>
                  <a:lnTo>
                    <a:pt x="49655" y="49401"/>
                  </a:lnTo>
                  <a:lnTo>
                    <a:pt x="49602" y="49398"/>
                  </a:lnTo>
                  <a:close/>
                  <a:moveTo>
                    <a:pt x="53489" y="53386"/>
                  </a:moveTo>
                  <a:lnTo>
                    <a:pt x="53485" y="53390"/>
                  </a:lnTo>
                  <a:lnTo>
                    <a:pt x="53485" y="53390"/>
                  </a:lnTo>
                  <a:lnTo>
                    <a:pt x="53489" y="53489"/>
                  </a:lnTo>
                  <a:lnTo>
                    <a:pt x="53489" y="53386"/>
                  </a:lnTo>
                  <a:close/>
                  <a:moveTo>
                    <a:pt x="231648" y="54102"/>
                  </a:moveTo>
                  <a:lnTo>
                    <a:pt x="231239" y="54205"/>
                  </a:lnTo>
                  <a:lnTo>
                    <a:pt x="230625" y="55739"/>
                  </a:lnTo>
                  <a:lnTo>
                    <a:pt x="231648" y="57477"/>
                  </a:lnTo>
                  <a:lnTo>
                    <a:pt x="231852" y="54511"/>
                  </a:lnTo>
                  <a:lnTo>
                    <a:pt x="231648" y="54102"/>
                  </a:lnTo>
                  <a:close/>
                  <a:moveTo>
                    <a:pt x="46432" y="57886"/>
                  </a:moveTo>
                  <a:lnTo>
                    <a:pt x="46432" y="57989"/>
                  </a:lnTo>
                  <a:lnTo>
                    <a:pt x="46636" y="57886"/>
                  </a:lnTo>
                  <a:close/>
                  <a:moveTo>
                    <a:pt x="176216" y="59114"/>
                  </a:moveTo>
                  <a:lnTo>
                    <a:pt x="176216" y="59114"/>
                  </a:lnTo>
                  <a:lnTo>
                    <a:pt x="176216" y="59114"/>
                  </a:lnTo>
                  <a:close/>
                  <a:moveTo>
                    <a:pt x="52057" y="56250"/>
                  </a:moveTo>
                  <a:lnTo>
                    <a:pt x="49193" y="57170"/>
                  </a:lnTo>
                  <a:lnTo>
                    <a:pt x="49091" y="57375"/>
                  </a:lnTo>
                  <a:lnTo>
                    <a:pt x="48682" y="57580"/>
                  </a:lnTo>
                  <a:lnTo>
                    <a:pt x="48989" y="57477"/>
                  </a:lnTo>
                  <a:lnTo>
                    <a:pt x="48989" y="57682"/>
                  </a:lnTo>
                  <a:lnTo>
                    <a:pt x="51443" y="56761"/>
                  </a:lnTo>
                  <a:lnTo>
                    <a:pt x="51443" y="56761"/>
                  </a:lnTo>
                  <a:lnTo>
                    <a:pt x="51239" y="56966"/>
                  </a:lnTo>
                  <a:lnTo>
                    <a:pt x="54205" y="57886"/>
                  </a:lnTo>
                  <a:lnTo>
                    <a:pt x="54307" y="58500"/>
                  </a:lnTo>
                  <a:lnTo>
                    <a:pt x="55330" y="58807"/>
                  </a:lnTo>
                  <a:lnTo>
                    <a:pt x="54818" y="59625"/>
                  </a:lnTo>
                  <a:lnTo>
                    <a:pt x="54818" y="59625"/>
                  </a:lnTo>
                  <a:lnTo>
                    <a:pt x="57068" y="59420"/>
                  </a:lnTo>
                  <a:lnTo>
                    <a:pt x="57170" y="59523"/>
                  </a:lnTo>
                  <a:lnTo>
                    <a:pt x="57886" y="59420"/>
                  </a:lnTo>
                  <a:lnTo>
                    <a:pt x="57886" y="59114"/>
                  </a:lnTo>
                  <a:lnTo>
                    <a:pt x="55739" y="58091"/>
                  </a:lnTo>
                  <a:lnTo>
                    <a:pt x="55534" y="57886"/>
                  </a:lnTo>
                  <a:lnTo>
                    <a:pt x="55330" y="57784"/>
                  </a:lnTo>
                  <a:lnTo>
                    <a:pt x="55534" y="57784"/>
                  </a:lnTo>
                  <a:lnTo>
                    <a:pt x="55125" y="57580"/>
                  </a:lnTo>
                  <a:lnTo>
                    <a:pt x="55227" y="57682"/>
                  </a:lnTo>
                  <a:lnTo>
                    <a:pt x="52057" y="56250"/>
                  </a:lnTo>
                  <a:close/>
                  <a:moveTo>
                    <a:pt x="207307" y="59625"/>
                  </a:moveTo>
                  <a:lnTo>
                    <a:pt x="207307" y="59625"/>
                  </a:lnTo>
                  <a:lnTo>
                    <a:pt x="207307" y="59625"/>
                  </a:lnTo>
                  <a:close/>
                  <a:moveTo>
                    <a:pt x="222648" y="59420"/>
                  </a:moveTo>
                  <a:lnTo>
                    <a:pt x="222648" y="59523"/>
                  </a:lnTo>
                  <a:lnTo>
                    <a:pt x="221625" y="59727"/>
                  </a:lnTo>
                  <a:lnTo>
                    <a:pt x="221727" y="59727"/>
                  </a:lnTo>
                  <a:lnTo>
                    <a:pt x="221216" y="60341"/>
                  </a:lnTo>
                  <a:lnTo>
                    <a:pt x="221727" y="61159"/>
                  </a:lnTo>
                  <a:lnTo>
                    <a:pt x="222750" y="60852"/>
                  </a:lnTo>
                  <a:lnTo>
                    <a:pt x="223159" y="59932"/>
                  </a:lnTo>
                  <a:lnTo>
                    <a:pt x="222648" y="59420"/>
                  </a:lnTo>
                  <a:close/>
                  <a:moveTo>
                    <a:pt x="54511" y="60955"/>
                  </a:moveTo>
                  <a:lnTo>
                    <a:pt x="54205" y="61057"/>
                  </a:lnTo>
                  <a:lnTo>
                    <a:pt x="54614" y="61670"/>
                  </a:lnTo>
                  <a:lnTo>
                    <a:pt x="55023" y="61773"/>
                  </a:lnTo>
                  <a:lnTo>
                    <a:pt x="55534" y="61568"/>
                  </a:lnTo>
                  <a:lnTo>
                    <a:pt x="55943" y="61568"/>
                  </a:lnTo>
                  <a:lnTo>
                    <a:pt x="54511" y="60955"/>
                  </a:lnTo>
                  <a:close/>
                  <a:moveTo>
                    <a:pt x="58602" y="59727"/>
                  </a:moveTo>
                  <a:lnTo>
                    <a:pt x="59114" y="60034"/>
                  </a:lnTo>
                  <a:lnTo>
                    <a:pt x="59114" y="60443"/>
                  </a:lnTo>
                  <a:lnTo>
                    <a:pt x="59420" y="60955"/>
                  </a:lnTo>
                  <a:lnTo>
                    <a:pt x="59114" y="61057"/>
                  </a:lnTo>
                  <a:lnTo>
                    <a:pt x="57784" y="60852"/>
                  </a:lnTo>
                  <a:lnTo>
                    <a:pt x="57580" y="61159"/>
                  </a:lnTo>
                  <a:lnTo>
                    <a:pt x="57989" y="61466"/>
                  </a:lnTo>
                  <a:lnTo>
                    <a:pt x="59420" y="61261"/>
                  </a:lnTo>
                  <a:lnTo>
                    <a:pt x="59932" y="61568"/>
                  </a:lnTo>
                  <a:lnTo>
                    <a:pt x="60239" y="61875"/>
                  </a:lnTo>
                  <a:lnTo>
                    <a:pt x="60545" y="61261"/>
                  </a:lnTo>
                  <a:lnTo>
                    <a:pt x="62693" y="61261"/>
                  </a:lnTo>
                  <a:lnTo>
                    <a:pt x="63000" y="60750"/>
                  </a:lnTo>
                  <a:lnTo>
                    <a:pt x="61977" y="60341"/>
                  </a:lnTo>
                  <a:lnTo>
                    <a:pt x="62284" y="60239"/>
                  </a:lnTo>
                  <a:lnTo>
                    <a:pt x="58602" y="59727"/>
                  </a:lnTo>
                  <a:close/>
                  <a:moveTo>
                    <a:pt x="208739" y="63614"/>
                  </a:moveTo>
                  <a:lnTo>
                    <a:pt x="208739" y="63614"/>
                  </a:lnTo>
                  <a:lnTo>
                    <a:pt x="208739" y="63614"/>
                  </a:lnTo>
                  <a:close/>
                  <a:moveTo>
                    <a:pt x="48989" y="64227"/>
                  </a:moveTo>
                  <a:lnTo>
                    <a:pt x="48989" y="64330"/>
                  </a:lnTo>
                  <a:lnTo>
                    <a:pt x="49091" y="64432"/>
                  </a:lnTo>
                  <a:lnTo>
                    <a:pt x="49091" y="64432"/>
                  </a:lnTo>
                  <a:lnTo>
                    <a:pt x="48989" y="64227"/>
                  </a:lnTo>
                  <a:close/>
                  <a:moveTo>
                    <a:pt x="44182" y="66375"/>
                  </a:moveTo>
                  <a:lnTo>
                    <a:pt x="44386" y="66477"/>
                  </a:lnTo>
                  <a:lnTo>
                    <a:pt x="44386" y="66477"/>
                  </a:lnTo>
                  <a:lnTo>
                    <a:pt x="44284" y="66375"/>
                  </a:lnTo>
                  <a:close/>
                  <a:moveTo>
                    <a:pt x="232261" y="60955"/>
                  </a:moveTo>
                  <a:lnTo>
                    <a:pt x="231955" y="61670"/>
                  </a:lnTo>
                  <a:lnTo>
                    <a:pt x="232159" y="63511"/>
                  </a:lnTo>
                  <a:lnTo>
                    <a:pt x="231648" y="63307"/>
                  </a:lnTo>
                  <a:lnTo>
                    <a:pt x="232364" y="64943"/>
                  </a:lnTo>
                  <a:lnTo>
                    <a:pt x="232568" y="64739"/>
                  </a:lnTo>
                  <a:lnTo>
                    <a:pt x="232977" y="65148"/>
                  </a:lnTo>
                  <a:lnTo>
                    <a:pt x="232773" y="65864"/>
                  </a:lnTo>
                  <a:lnTo>
                    <a:pt x="233591" y="65966"/>
                  </a:lnTo>
                  <a:lnTo>
                    <a:pt x="233795" y="65659"/>
                  </a:lnTo>
                  <a:lnTo>
                    <a:pt x="234716" y="66375"/>
                  </a:lnTo>
                  <a:lnTo>
                    <a:pt x="234409" y="65761"/>
                  </a:lnTo>
                  <a:lnTo>
                    <a:pt x="236045" y="67091"/>
                  </a:lnTo>
                  <a:lnTo>
                    <a:pt x="235432" y="65966"/>
                  </a:lnTo>
                  <a:lnTo>
                    <a:pt x="235739" y="65864"/>
                  </a:lnTo>
                  <a:lnTo>
                    <a:pt x="235125" y="65659"/>
                  </a:lnTo>
                  <a:lnTo>
                    <a:pt x="235125" y="65864"/>
                  </a:lnTo>
                  <a:lnTo>
                    <a:pt x="234511" y="65352"/>
                  </a:lnTo>
                  <a:lnTo>
                    <a:pt x="234205" y="65455"/>
                  </a:lnTo>
                  <a:lnTo>
                    <a:pt x="234307" y="65659"/>
                  </a:lnTo>
                  <a:lnTo>
                    <a:pt x="233284" y="64330"/>
                  </a:lnTo>
                  <a:lnTo>
                    <a:pt x="233489" y="63511"/>
                  </a:lnTo>
                  <a:lnTo>
                    <a:pt x="233795" y="63205"/>
                  </a:lnTo>
                  <a:lnTo>
                    <a:pt x="233591" y="61159"/>
                  </a:lnTo>
                  <a:lnTo>
                    <a:pt x="233284" y="61261"/>
                  </a:lnTo>
                  <a:lnTo>
                    <a:pt x="232261" y="60955"/>
                  </a:lnTo>
                  <a:close/>
                  <a:moveTo>
                    <a:pt x="236045" y="67091"/>
                  </a:moveTo>
                  <a:lnTo>
                    <a:pt x="236045" y="67091"/>
                  </a:lnTo>
                  <a:lnTo>
                    <a:pt x="236045" y="67091"/>
                  </a:lnTo>
                  <a:close/>
                  <a:moveTo>
                    <a:pt x="232670" y="66170"/>
                  </a:moveTo>
                  <a:lnTo>
                    <a:pt x="233693" y="67398"/>
                  </a:lnTo>
                  <a:lnTo>
                    <a:pt x="233693" y="66580"/>
                  </a:lnTo>
                  <a:lnTo>
                    <a:pt x="233080" y="66170"/>
                  </a:lnTo>
                  <a:close/>
                  <a:moveTo>
                    <a:pt x="222750" y="67705"/>
                  </a:moveTo>
                  <a:lnTo>
                    <a:pt x="222750" y="67705"/>
                  </a:lnTo>
                  <a:lnTo>
                    <a:pt x="222750" y="67705"/>
                  </a:lnTo>
                  <a:close/>
                  <a:moveTo>
                    <a:pt x="222750" y="67705"/>
                  </a:moveTo>
                  <a:lnTo>
                    <a:pt x="222737" y="67743"/>
                  </a:lnTo>
                  <a:lnTo>
                    <a:pt x="222750" y="67807"/>
                  </a:lnTo>
                  <a:lnTo>
                    <a:pt x="222750" y="67705"/>
                  </a:lnTo>
                  <a:close/>
                  <a:moveTo>
                    <a:pt x="235330" y="67091"/>
                  </a:moveTo>
                  <a:lnTo>
                    <a:pt x="235330" y="67807"/>
                  </a:lnTo>
                  <a:lnTo>
                    <a:pt x="235739" y="67602"/>
                  </a:lnTo>
                  <a:lnTo>
                    <a:pt x="236148" y="67909"/>
                  </a:lnTo>
                  <a:lnTo>
                    <a:pt x="235534" y="67193"/>
                  </a:lnTo>
                  <a:lnTo>
                    <a:pt x="235330" y="67091"/>
                  </a:lnTo>
                  <a:close/>
                  <a:moveTo>
                    <a:pt x="236250" y="67091"/>
                  </a:moveTo>
                  <a:lnTo>
                    <a:pt x="237068" y="68420"/>
                  </a:lnTo>
                  <a:lnTo>
                    <a:pt x="237682" y="68625"/>
                  </a:lnTo>
                  <a:lnTo>
                    <a:pt x="237784" y="68625"/>
                  </a:lnTo>
                  <a:lnTo>
                    <a:pt x="237170" y="67295"/>
                  </a:lnTo>
                  <a:lnTo>
                    <a:pt x="236250" y="67091"/>
                  </a:lnTo>
                  <a:close/>
                  <a:moveTo>
                    <a:pt x="234307" y="67807"/>
                  </a:moveTo>
                  <a:lnTo>
                    <a:pt x="234205" y="67909"/>
                  </a:lnTo>
                  <a:lnTo>
                    <a:pt x="234409" y="68011"/>
                  </a:lnTo>
                  <a:lnTo>
                    <a:pt x="234409" y="69341"/>
                  </a:lnTo>
                  <a:lnTo>
                    <a:pt x="235330" y="68420"/>
                  </a:lnTo>
                  <a:lnTo>
                    <a:pt x="234307" y="67807"/>
                  </a:lnTo>
                  <a:close/>
                  <a:moveTo>
                    <a:pt x="236455" y="68216"/>
                  </a:moveTo>
                  <a:lnTo>
                    <a:pt x="236557" y="68625"/>
                  </a:lnTo>
                  <a:lnTo>
                    <a:pt x="236864" y="68932"/>
                  </a:lnTo>
                  <a:lnTo>
                    <a:pt x="237170" y="69750"/>
                  </a:lnTo>
                  <a:lnTo>
                    <a:pt x="237170" y="69341"/>
                  </a:lnTo>
                  <a:lnTo>
                    <a:pt x="237273" y="69545"/>
                  </a:lnTo>
                  <a:lnTo>
                    <a:pt x="237273" y="69443"/>
                  </a:lnTo>
                  <a:lnTo>
                    <a:pt x="237273" y="69136"/>
                  </a:lnTo>
                  <a:lnTo>
                    <a:pt x="237170" y="68932"/>
                  </a:lnTo>
                  <a:lnTo>
                    <a:pt x="236966" y="68318"/>
                  </a:lnTo>
                  <a:lnTo>
                    <a:pt x="236761" y="68420"/>
                  </a:lnTo>
                  <a:lnTo>
                    <a:pt x="236455" y="68216"/>
                  </a:lnTo>
                  <a:close/>
                  <a:moveTo>
                    <a:pt x="193091" y="69852"/>
                  </a:moveTo>
                  <a:lnTo>
                    <a:pt x="193295" y="70261"/>
                  </a:lnTo>
                  <a:lnTo>
                    <a:pt x="193160" y="69965"/>
                  </a:lnTo>
                  <a:lnTo>
                    <a:pt x="193091" y="69852"/>
                  </a:lnTo>
                  <a:close/>
                  <a:moveTo>
                    <a:pt x="235636" y="68830"/>
                  </a:moveTo>
                  <a:lnTo>
                    <a:pt x="235227" y="69034"/>
                  </a:lnTo>
                  <a:lnTo>
                    <a:pt x="235125" y="69239"/>
                  </a:lnTo>
                  <a:lnTo>
                    <a:pt x="235227" y="69648"/>
                  </a:lnTo>
                  <a:lnTo>
                    <a:pt x="234818" y="69955"/>
                  </a:lnTo>
                  <a:lnTo>
                    <a:pt x="235636" y="70670"/>
                  </a:lnTo>
                  <a:lnTo>
                    <a:pt x="235636" y="68830"/>
                  </a:lnTo>
                  <a:close/>
                  <a:moveTo>
                    <a:pt x="232057" y="68420"/>
                  </a:moveTo>
                  <a:lnTo>
                    <a:pt x="230318" y="71284"/>
                  </a:lnTo>
                  <a:lnTo>
                    <a:pt x="230318" y="71386"/>
                  </a:lnTo>
                  <a:lnTo>
                    <a:pt x="232261" y="69341"/>
                  </a:lnTo>
                  <a:lnTo>
                    <a:pt x="232057" y="68420"/>
                  </a:lnTo>
                  <a:close/>
                  <a:moveTo>
                    <a:pt x="196568" y="70159"/>
                  </a:moveTo>
                  <a:lnTo>
                    <a:pt x="196364" y="71795"/>
                  </a:lnTo>
                  <a:lnTo>
                    <a:pt x="196364" y="72000"/>
                  </a:lnTo>
                  <a:lnTo>
                    <a:pt x="197591" y="73739"/>
                  </a:lnTo>
                  <a:lnTo>
                    <a:pt x="198102" y="72102"/>
                  </a:lnTo>
                  <a:lnTo>
                    <a:pt x="196875" y="70261"/>
                  </a:lnTo>
                  <a:lnTo>
                    <a:pt x="196568" y="70159"/>
                  </a:lnTo>
                  <a:close/>
                  <a:moveTo>
                    <a:pt x="237580" y="70261"/>
                  </a:moveTo>
                  <a:lnTo>
                    <a:pt x="237580" y="70773"/>
                  </a:lnTo>
                  <a:lnTo>
                    <a:pt x="237068" y="70977"/>
                  </a:lnTo>
                  <a:lnTo>
                    <a:pt x="237068" y="71182"/>
                  </a:lnTo>
                  <a:lnTo>
                    <a:pt x="236761" y="71182"/>
                  </a:lnTo>
                  <a:lnTo>
                    <a:pt x="236659" y="71591"/>
                  </a:lnTo>
                  <a:lnTo>
                    <a:pt x="236250" y="71795"/>
                  </a:lnTo>
                  <a:lnTo>
                    <a:pt x="236148" y="71182"/>
                  </a:lnTo>
                  <a:lnTo>
                    <a:pt x="235739" y="71284"/>
                  </a:lnTo>
                  <a:lnTo>
                    <a:pt x="235432" y="71693"/>
                  </a:lnTo>
                  <a:lnTo>
                    <a:pt x="234818" y="71898"/>
                  </a:lnTo>
                  <a:lnTo>
                    <a:pt x="234818" y="72818"/>
                  </a:lnTo>
                  <a:lnTo>
                    <a:pt x="235227" y="72000"/>
                  </a:lnTo>
                  <a:lnTo>
                    <a:pt x="235636" y="72102"/>
                  </a:lnTo>
                  <a:lnTo>
                    <a:pt x="235943" y="72409"/>
                  </a:lnTo>
                  <a:lnTo>
                    <a:pt x="236045" y="72000"/>
                  </a:lnTo>
                  <a:lnTo>
                    <a:pt x="236455" y="72205"/>
                  </a:lnTo>
                  <a:lnTo>
                    <a:pt x="236557" y="73125"/>
                  </a:lnTo>
                  <a:lnTo>
                    <a:pt x="237580" y="73943"/>
                  </a:lnTo>
                  <a:lnTo>
                    <a:pt x="237682" y="73841"/>
                  </a:lnTo>
                  <a:lnTo>
                    <a:pt x="237682" y="74045"/>
                  </a:lnTo>
                  <a:lnTo>
                    <a:pt x="238091" y="73841"/>
                  </a:lnTo>
                  <a:lnTo>
                    <a:pt x="237784" y="73227"/>
                  </a:lnTo>
                  <a:lnTo>
                    <a:pt x="237989" y="72614"/>
                  </a:lnTo>
                  <a:lnTo>
                    <a:pt x="238295" y="72818"/>
                  </a:lnTo>
                  <a:lnTo>
                    <a:pt x="238500" y="73534"/>
                  </a:lnTo>
                  <a:lnTo>
                    <a:pt x="238500" y="73023"/>
                  </a:lnTo>
                  <a:lnTo>
                    <a:pt x="238807" y="72614"/>
                  </a:lnTo>
                  <a:lnTo>
                    <a:pt x="238500" y="71284"/>
                  </a:lnTo>
                  <a:lnTo>
                    <a:pt x="238398" y="71182"/>
                  </a:lnTo>
                  <a:lnTo>
                    <a:pt x="238500" y="70977"/>
                  </a:lnTo>
                  <a:lnTo>
                    <a:pt x="238295" y="70466"/>
                  </a:lnTo>
                  <a:lnTo>
                    <a:pt x="237580" y="70261"/>
                  </a:lnTo>
                  <a:close/>
                  <a:moveTo>
                    <a:pt x="240443" y="77727"/>
                  </a:moveTo>
                  <a:lnTo>
                    <a:pt x="240034" y="78545"/>
                  </a:lnTo>
                  <a:lnTo>
                    <a:pt x="240136" y="80284"/>
                  </a:lnTo>
                  <a:lnTo>
                    <a:pt x="240852" y="81000"/>
                  </a:lnTo>
                  <a:lnTo>
                    <a:pt x="240341" y="79568"/>
                  </a:lnTo>
                  <a:lnTo>
                    <a:pt x="241261" y="79773"/>
                  </a:lnTo>
                  <a:lnTo>
                    <a:pt x="240750" y="79057"/>
                  </a:lnTo>
                  <a:lnTo>
                    <a:pt x="241057" y="78852"/>
                  </a:lnTo>
                  <a:lnTo>
                    <a:pt x="241057" y="78545"/>
                  </a:lnTo>
                  <a:lnTo>
                    <a:pt x="240136" y="78955"/>
                  </a:lnTo>
                  <a:lnTo>
                    <a:pt x="240443" y="78648"/>
                  </a:lnTo>
                  <a:lnTo>
                    <a:pt x="240443" y="78341"/>
                  </a:lnTo>
                  <a:lnTo>
                    <a:pt x="240341" y="78136"/>
                  </a:lnTo>
                  <a:lnTo>
                    <a:pt x="240443" y="77727"/>
                  </a:lnTo>
                  <a:close/>
                  <a:moveTo>
                    <a:pt x="79875" y="80284"/>
                  </a:moveTo>
                  <a:lnTo>
                    <a:pt x="78136" y="80591"/>
                  </a:lnTo>
                  <a:lnTo>
                    <a:pt x="78136" y="81511"/>
                  </a:lnTo>
                  <a:lnTo>
                    <a:pt x="78443" y="81818"/>
                  </a:lnTo>
                  <a:lnTo>
                    <a:pt x="79466" y="81511"/>
                  </a:lnTo>
                  <a:lnTo>
                    <a:pt x="80080" y="80693"/>
                  </a:lnTo>
                  <a:lnTo>
                    <a:pt x="79875" y="80284"/>
                  </a:lnTo>
                  <a:close/>
                  <a:moveTo>
                    <a:pt x="261102" y="82636"/>
                  </a:moveTo>
                  <a:lnTo>
                    <a:pt x="261000" y="82841"/>
                  </a:lnTo>
                  <a:lnTo>
                    <a:pt x="261205" y="82943"/>
                  </a:lnTo>
                  <a:lnTo>
                    <a:pt x="261307" y="82943"/>
                  </a:lnTo>
                  <a:lnTo>
                    <a:pt x="261102" y="82636"/>
                  </a:lnTo>
                  <a:close/>
                  <a:moveTo>
                    <a:pt x="220500" y="81818"/>
                  </a:moveTo>
                  <a:lnTo>
                    <a:pt x="219784" y="81920"/>
                  </a:lnTo>
                  <a:lnTo>
                    <a:pt x="219886" y="82227"/>
                  </a:lnTo>
                  <a:lnTo>
                    <a:pt x="220295" y="82534"/>
                  </a:lnTo>
                  <a:lnTo>
                    <a:pt x="220295" y="82841"/>
                  </a:lnTo>
                  <a:lnTo>
                    <a:pt x="221011" y="83148"/>
                  </a:lnTo>
                  <a:lnTo>
                    <a:pt x="221114" y="82636"/>
                  </a:lnTo>
                  <a:lnTo>
                    <a:pt x="220500" y="81818"/>
                  </a:lnTo>
                  <a:close/>
                  <a:moveTo>
                    <a:pt x="222034" y="82636"/>
                  </a:moveTo>
                  <a:lnTo>
                    <a:pt x="221830" y="83045"/>
                  </a:lnTo>
                  <a:lnTo>
                    <a:pt x="221830" y="83352"/>
                  </a:lnTo>
                  <a:lnTo>
                    <a:pt x="222341" y="83148"/>
                  </a:lnTo>
                  <a:lnTo>
                    <a:pt x="222034" y="82636"/>
                  </a:lnTo>
                  <a:close/>
                  <a:moveTo>
                    <a:pt x="240443" y="83352"/>
                  </a:moveTo>
                  <a:lnTo>
                    <a:pt x="240239" y="83659"/>
                  </a:lnTo>
                  <a:lnTo>
                    <a:pt x="240239" y="83659"/>
                  </a:lnTo>
                  <a:lnTo>
                    <a:pt x="240545" y="83352"/>
                  </a:lnTo>
                  <a:close/>
                  <a:moveTo>
                    <a:pt x="240852" y="82943"/>
                  </a:moveTo>
                  <a:lnTo>
                    <a:pt x="240545" y="83352"/>
                  </a:lnTo>
                  <a:lnTo>
                    <a:pt x="240750" y="83557"/>
                  </a:lnTo>
                  <a:lnTo>
                    <a:pt x="241261" y="83455"/>
                  </a:lnTo>
                  <a:lnTo>
                    <a:pt x="241670" y="83557"/>
                  </a:lnTo>
                  <a:lnTo>
                    <a:pt x="241977" y="83455"/>
                  </a:lnTo>
                  <a:lnTo>
                    <a:pt x="242898" y="83966"/>
                  </a:lnTo>
                  <a:lnTo>
                    <a:pt x="241568" y="82943"/>
                  </a:lnTo>
                  <a:close/>
                  <a:moveTo>
                    <a:pt x="230011" y="72818"/>
                  </a:moveTo>
                  <a:lnTo>
                    <a:pt x="228989" y="74250"/>
                  </a:lnTo>
                  <a:lnTo>
                    <a:pt x="228989" y="74761"/>
                  </a:lnTo>
                  <a:lnTo>
                    <a:pt x="228477" y="74966"/>
                  </a:lnTo>
                  <a:lnTo>
                    <a:pt x="228477" y="74864"/>
                  </a:lnTo>
                  <a:lnTo>
                    <a:pt x="227557" y="75375"/>
                  </a:lnTo>
                  <a:lnTo>
                    <a:pt x="227045" y="76398"/>
                  </a:lnTo>
                  <a:lnTo>
                    <a:pt x="225409" y="77216"/>
                  </a:lnTo>
                  <a:lnTo>
                    <a:pt x="225307" y="77420"/>
                  </a:lnTo>
                  <a:lnTo>
                    <a:pt x="225205" y="77523"/>
                  </a:lnTo>
                  <a:lnTo>
                    <a:pt x="225205" y="78648"/>
                  </a:lnTo>
                  <a:lnTo>
                    <a:pt x="223670" y="77932"/>
                  </a:lnTo>
                  <a:lnTo>
                    <a:pt x="223159" y="78750"/>
                  </a:lnTo>
                  <a:lnTo>
                    <a:pt x="223261" y="78750"/>
                  </a:lnTo>
                  <a:lnTo>
                    <a:pt x="224182" y="83045"/>
                  </a:lnTo>
                  <a:lnTo>
                    <a:pt x="225511" y="83045"/>
                  </a:lnTo>
                  <a:lnTo>
                    <a:pt x="225818" y="83659"/>
                  </a:lnTo>
                  <a:lnTo>
                    <a:pt x="226023" y="83455"/>
                  </a:lnTo>
                  <a:lnTo>
                    <a:pt x="226330" y="83557"/>
                  </a:lnTo>
                  <a:lnTo>
                    <a:pt x="226739" y="83045"/>
                  </a:lnTo>
                  <a:lnTo>
                    <a:pt x="227352" y="83557"/>
                  </a:lnTo>
                  <a:lnTo>
                    <a:pt x="227966" y="83352"/>
                  </a:lnTo>
                  <a:lnTo>
                    <a:pt x="228068" y="83557"/>
                  </a:lnTo>
                  <a:lnTo>
                    <a:pt x="228375" y="84273"/>
                  </a:lnTo>
                  <a:lnTo>
                    <a:pt x="229398" y="83659"/>
                  </a:lnTo>
                  <a:lnTo>
                    <a:pt x="229705" y="83250"/>
                  </a:lnTo>
                  <a:lnTo>
                    <a:pt x="229602" y="83045"/>
                  </a:lnTo>
                  <a:lnTo>
                    <a:pt x="229807" y="82739"/>
                  </a:lnTo>
                  <a:lnTo>
                    <a:pt x="229705" y="81920"/>
                  </a:lnTo>
                  <a:lnTo>
                    <a:pt x="230216" y="81102"/>
                  </a:lnTo>
                  <a:lnTo>
                    <a:pt x="230523" y="81102"/>
                  </a:lnTo>
                  <a:lnTo>
                    <a:pt x="231239" y="78955"/>
                  </a:lnTo>
                  <a:lnTo>
                    <a:pt x="231852" y="79159"/>
                  </a:lnTo>
                  <a:lnTo>
                    <a:pt x="232159" y="79159"/>
                  </a:lnTo>
                  <a:lnTo>
                    <a:pt x="232057" y="78955"/>
                  </a:lnTo>
                  <a:lnTo>
                    <a:pt x="231136" y="77932"/>
                  </a:lnTo>
                  <a:lnTo>
                    <a:pt x="231034" y="77114"/>
                  </a:lnTo>
                  <a:lnTo>
                    <a:pt x="230932" y="77011"/>
                  </a:lnTo>
                  <a:lnTo>
                    <a:pt x="230420" y="76295"/>
                  </a:lnTo>
                  <a:lnTo>
                    <a:pt x="230830" y="76193"/>
                  </a:lnTo>
                  <a:lnTo>
                    <a:pt x="230932" y="76091"/>
                  </a:lnTo>
                  <a:lnTo>
                    <a:pt x="230932" y="75580"/>
                  </a:lnTo>
                  <a:lnTo>
                    <a:pt x="231750" y="75580"/>
                  </a:lnTo>
                  <a:lnTo>
                    <a:pt x="231443" y="74864"/>
                  </a:lnTo>
                  <a:lnTo>
                    <a:pt x="232261" y="74761"/>
                  </a:lnTo>
                  <a:lnTo>
                    <a:pt x="231136" y="73841"/>
                  </a:lnTo>
                  <a:lnTo>
                    <a:pt x="230727" y="73943"/>
                  </a:lnTo>
                  <a:lnTo>
                    <a:pt x="230420" y="72920"/>
                  </a:lnTo>
                  <a:lnTo>
                    <a:pt x="230011" y="73227"/>
                  </a:lnTo>
                  <a:lnTo>
                    <a:pt x="230011" y="72818"/>
                  </a:lnTo>
                  <a:close/>
                  <a:moveTo>
                    <a:pt x="261307" y="82943"/>
                  </a:moveTo>
                  <a:lnTo>
                    <a:pt x="262841" y="84989"/>
                  </a:lnTo>
                  <a:lnTo>
                    <a:pt x="262330" y="83761"/>
                  </a:lnTo>
                  <a:lnTo>
                    <a:pt x="261307" y="82943"/>
                  </a:lnTo>
                  <a:close/>
                  <a:moveTo>
                    <a:pt x="237682" y="78239"/>
                  </a:moveTo>
                  <a:lnTo>
                    <a:pt x="237170" y="78852"/>
                  </a:lnTo>
                  <a:lnTo>
                    <a:pt x="234614" y="78955"/>
                  </a:lnTo>
                  <a:lnTo>
                    <a:pt x="234409" y="78750"/>
                  </a:lnTo>
                  <a:lnTo>
                    <a:pt x="233489" y="79057"/>
                  </a:lnTo>
                  <a:lnTo>
                    <a:pt x="232977" y="79875"/>
                  </a:lnTo>
                  <a:lnTo>
                    <a:pt x="232977" y="80080"/>
                  </a:lnTo>
                  <a:lnTo>
                    <a:pt x="232875" y="80182"/>
                  </a:lnTo>
                  <a:lnTo>
                    <a:pt x="232977" y="80898"/>
                  </a:lnTo>
                  <a:lnTo>
                    <a:pt x="232875" y="80693"/>
                  </a:lnTo>
                  <a:lnTo>
                    <a:pt x="232057" y="83455"/>
                  </a:lnTo>
                  <a:lnTo>
                    <a:pt x="232364" y="83659"/>
                  </a:lnTo>
                  <a:lnTo>
                    <a:pt x="232568" y="83864"/>
                  </a:lnTo>
                  <a:lnTo>
                    <a:pt x="232670" y="85909"/>
                  </a:lnTo>
                  <a:lnTo>
                    <a:pt x="233386" y="85807"/>
                  </a:lnTo>
                  <a:lnTo>
                    <a:pt x="233591" y="82841"/>
                  </a:lnTo>
                  <a:lnTo>
                    <a:pt x="234409" y="84784"/>
                  </a:lnTo>
                  <a:lnTo>
                    <a:pt x="235636" y="84375"/>
                  </a:lnTo>
                  <a:lnTo>
                    <a:pt x="235125" y="83761"/>
                  </a:lnTo>
                  <a:lnTo>
                    <a:pt x="235227" y="83148"/>
                  </a:lnTo>
                  <a:lnTo>
                    <a:pt x="234409" y="82023"/>
                  </a:lnTo>
                  <a:lnTo>
                    <a:pt x="234614" y="82023"/>
                  </a:lnTo>
                  <a:lnTo>
                    <a:pt x="235739" y="81000"/>
                  </a:lnTo>
                  <a:lnTo>
                    <a:pt x="236148" y="81102"/>
                  </a:lnTo>
                  <a:lnTo>
                    <a:pt x="235739" y="80693"/>
                  </a:lnTo>
                  <a:lnTo>
                    <a:pt x="235739" y="80795"/>
                  </a:lnTo>
                  <a:lnTo>
                    <a:pt x="233591" y="81205"/>
                  </a:lnTo>
                  <a:lnTo>
                    <a:pt x="233284" y="80693"/>
                  </a:lnTo>
                  <a:lnTo>
                    <a:pt x="233182" y="80182"/>
                  </a:lnTo>
                  <a:lnTo>
                    <a:pt x="235943" y="79568"/>
                  </a:lnTo>
                  <a:lnTo>
                    <a:pt x="236455" y="79773"/>
                  </a:lnTo>
                  <a:lnTo>
                    <a:pt x="236966" y="79670"/>
                  </a:lnTo>
                  <a:lnTo>
                    <a:pt x="237580" y="79057"/>
                  </a:lnTo>
                  <a:lnTo>
                    <a:pt x="237682" y="78239"/>
                  </a:lnTo>
                  <a:close/>
                  <a:moveTo>
                    <a:pt x="210580" y="74659"/>
                  </a:moveTo>
                  <a:lnTo>
                    <a:pt x="219068" y="86114"/>
                  </a:lnTo>
                  <a:lnTo>
                    <a:pt x="219068" y="85705"/>
                  </a:lnTo>
                  <a:lnTo>
                    <a:pt x="219989" y="86011"/>
                  </a:lnTo>
                  <a:lnTo>
                    <a:pt x="220398" y="83250"/>
                  </a:lnTo>
                  <a:lnTo>
                    <a:pt x="219273" y="82636"/>
                  </a:lnTo>
                  <a:lnTo>
                    <a:pt x="218966" y="81102"/>
                  </a:lnTo>
                  <a:lnTo>
                    <a:pt x="218352" y="80898"/>
                  </a:lnTo>
                  <a:lnTo>
                    <a:pt x="218148" y="80489"/>
                  </a:lnTo>
                  <a:lnTo>
                    <a:pt x="218455" y="79977"/>
                  </a:lnTo>
                  <a:lnTo>
                    <a:pt x="218045" y="79466"/>
                  </a:lnTo>
                  <a:lnTo>
                    <a:pt x="217330" y="79773"/>
                  </a:lnTo>
                  <a:lnTo>
                    <a:pt x="217739" y="79568"/>
                  </a:lnTo>
                  <a:lnTo>
                    <a:pt x="216102" y="77830"/>
                  </a:lnTo>
                  <a:lnTo>
                    <a:pt x="215795" y="78034"/>
                  </a:lnTo>
                  <a:lnTo>
                    <a:pt x="212625" y="74659"/>
                  </a:lnTo>
                  <a:close/>
                  <a:moveTo>
                    <a:pt x="246170" y="85602"/>
                  </a:moveTo>
                  <a:lnTo>
                    <a:pt x="245864" y="85909"/>
                  </a:lnTo>
                  <a:lnTo>
                    <a:pt x="245761" y="86216"/>
                  </a:lnTo>
                  <a:lnTo>
                    <a:pt x="246273" y="86523"/>
                  </a:lnTo>
                  <a:lnTo>
                    <a:pt x="246375" y="86011"/>
                  </a:lnTo>
                  <a:lnTo>
                    <a:pt x="246170" y="85602"/>
                  </a:lnTo>
                  <a:close/>
                  <a:moveTo>
                    <a:pt x="261818" y="84375"/>
                  </a:moveTo>
                  <a:lnTo>
                    <a:pt x="261716" y="84886"/>
                  </a:lnTo>
                  <a:lnTo>
                    <a:pt x="260693" y="85705"/>
                  </a:lnTo>
                  <a:lnTo>
                    <a:pt x="260386" y="85705"/>
                  </a:lnTo>
                  <a:lnTo>
                    <a:pt x="260284" y="85193"/>
                  </a:lnTo>
                  <a:lnTo>
                    <a:pt x="260080" y="85705"/>
                  </a:lnTo>
                  <a:lnTo>
                    <a:pt x="258648" y="85909"/>
                  </a:lnTo>
                  <a:lnTo>
                    <a:pt x="259773" y="86523"/>
                  </a:lnTo>
                  <a:lnTo>
                    <a:pt x="262125" y="85500"/>
                  </a:lnTo>
                  <a:lnTo>
                    <a:pt x="262023" y="85295"/>
                  </a:lnTo>
                  <a:lnTo>
                    <a:pt x="262227" y="85193"/>
                  </a:lnTo>
                  <a:lnTo>
                    <a:pt x="262432" y="84477"/>
                  </a:lnTo>
                  <a:lnTo>
                    <a:pt x="261818" y="84375"/>
                  </a:lnTo>
                  <a:close/>
                  <a:moveTo>
                    <a:pt x="249239" y="87852"/>
                  </a:moveTo>
                  <a:lnTo>
                    <a:pt x="248727" y="88670"/>
                  </a:lnTo>
                  <a:lnTo>
                    <a:pt x="249648" y="88466"/>
                  </a:lnTo>
                  <a:lnTo>
                    <a:pt x="249239" y="87852"/>
                  </a:lnTo>
                  <a:close/>
                  <a:moveTo>
                    <a:pt x="220500" y="86216"/>
                  </a:moveTo>
                  <a:lnTo>
                    <a:pt x="219682" y="86932"/>
                  </a:lnTo>
                  <a:lnTo>
                    <a:pt x="219784" y="87136"/>
                  </a:lnTo>
                  <a:lnTo>
                    <a:pt x="227250" y="88875"/>
                  </a:lnTo>
                  <a:lnTo>
                    <a:pt x="227761" y="88977"/>
                  </a:lnTo>
                  <a:lnTo>
                    <a:pt x="227761" y="88057"/>
                  </a:lnTo>
                  <a:lnTo>
                    <a:pt x="226330" y="87648"/>
                  </a:lnTo>
                  <a:lnTo>
                    <a:pt x="226125" y="87136"/>
                  </a:lnTo>
                  <a:lnTo>
                    <a:pt x="224591" y="86727"/>
                  </a:lnTo>
                  <a:lnTo>
                    <a:pt x="224284" y="87136"/>
                  </a:lnTo>
                  <a:lnTo>
                    <a:pt x="222648" y="87034"/>
                  </a:lnTo>
                  <a:lnTo>
                    <a:pt x="222239" y="86523"/>
                  </a:lnTo>
                  <a:lnTo>
                    <a:pt x="220500" y="86216"/>
                  </a:lnTo>
                  <a:close/>
                  <a:moveTo>
                    <a:pt x="227761" y="88364"/>
                  </a:moveTo>
                  <a:lnTo>
                    <a:pt x="228273" y="89080"/>
                  </a:lnTo>
                  <a:lnTo>
                    <a:pt x="228886" y="88670"/>
                  </a:lnTo>
                  <a:lnTo>
                    <a:pt x="228375" y="88364"/>
                  </a:lnTo>
                  <a:close/>
                  <a:moveTo>
                    <a:pt x="229398" y="88568"/>
                  </a:moveTo>
                  <a:lnTo>
                    <a:pt x="228989" y="88977"/>
                  </a:lnTo>
                  <a:lnTo>
                    <a:pt x="229705" y="89182"/>
                  </a:lnTo>
                  <a:lnTo>
                    <a:pt x="229807" y="88670"/>
                  </a:lnTo>
                  <a:lnTo>
                    <a:pt x="229398" y="88568"/>
                  </a:lnTo>
                  <a:close/>
                  <a:moveTo>
                    <a:pt x="235432" y="88466"/>
                  </a:moveTo>
                  <a:lnTo>
                    <a:pt x="234920" y="88875"/>
                  </a:lnTo>
                  <a:lnTo>
                    <a:pt x="233182" y="88568"/>
                  </a:lnTo>
                  <a:lnTo>
                    <a:pt x="232670" y="88670"/>
                  </a:lnTo>
                  <a:lnTo>
                    <a:pt x="232670" y="89182"/>
                  </a:lnTo>
                  <a:lnTo>
                    <a:pt x="234716" y="88977"/>
                  </a:lnTo>
                  <a:lnTo>
                    <a:pt x="235330" y="88773"/>
                  </a:lnTo>
                  <a:lnTo>
                    <a:pt x="235534" y="88466"/>
                  </a:lnTo>
                  <a:close/>
                  <a:moveTo>
                    <a:pt x="230932" y="88364"/>
                  </a:moveTo>
                  <a:lnTo>
                    <a:pt x="230727" y="88568"/>
                  </a:lnTo>
                  <a:lnTo>
                    <a:pt x="231034" y="88977"/>
                  </a:lnTo>
                  <a:lnTo>
                    <a:pt x="231034" y="88977"/>
                  </a:lnTo>
                  <a:lnTo>
                    <a:pt x="230420" y="88670"/>
                  </a:lnTo>
                  <a:lnTo>
                    <a:pt x="230011" y="89386"/>
                  </a:lnTo>
                  <a:lnTo>
                    <a:pt x="231341" y="88977"/>
                  </a:lnTo>
                  <a:lnTo>
                    <a:pt x="231750" y="89080"/>
                  </a:lnTo>
                  <a:lnTo>
                    <a:pt x="231648" y="88977"/>
                  </a:lnTo>
                  <a:lnTo>
                    <a:pt x="231750" y="88977"/>
                  </a:lnTo>
                  <a:lnTo>
                    <a:pt x="231648" y="88670"/>
                  </a:lnTo>
                  <a:lnTo>
                    <a:pt x="231239" y="88568"/>
                  </a:lnTo>
                  <a:lnTo>
                    <a:pt x="230932" y="88364"/>
                  </a:lnTo>
                  <a:close/>
                  <a:moveTo>
                    <a:pt x="232670" y="89591"/>
                  </a:moveTo>
                  <a:lnTo>
                    <a:pt x="231750" y="89898"/>
                  </a:lnTo>
                  <a:lnTo>
                    <a:pt x="232670" y="90409"/>
                  </a:lnTo>
                  <a:lnTo>
                    <a:pt x="233284" y="90205"/>
                  </a:lnTo>
                  <a:lnTo>
                    <a:pt x="232670" y="89591"/>
                  </a:lnTo>
                  <a:close/>
                  <a:moveTo>
                    <a:pt x="239420" y="88670"/>
                  </a:moveTo>
                  <a:lnTo>
                    <a:pt x="237989" y="88773"/>
                  </a:lnTo>
                  <a:lnTo>
                    <a:pt x="235943" y="90102"/>
                  </a:lnTo>
                  <a:lnTo>
                    <a:pt x="235943" y="90511"/>
                  </a:lnTo>
                  <a:lnTo>
                    <a:pt x="237068" y="90102"/>
                  </a:lnTo>
                  <a:lnTo>
                    <a:pt x="239420" y="88670"/>
                  </a:lnTo>
                  <a:close/>
                  <a:moveTo>
                    <a:pt x="244636" y="80386"/>
                  </a:moveTo>
                  <a:lnTo>
                    <a:pt x="243205" y="81409"/>
                  </a:lnTo>
                  <a:lnTo>
                    <a:pt x="243920" y="81614"/>
                  </a:lnTo>
                  <a:lnTo>
                    <a:pt x="244125" y="82125"/>
                  </a:lnTo>
                  <a:lnTo>
                    <a:pt x="244432" y="82330"/>
                  </a:lnTo>
                  <a:lnTo>
                    <a:pt x="245761" y="82227"/>
                  </a:lnTo>
                  <a:lnTo>
                    <a:pt x="245557" y="82739"/>
                  </a:lnTo>
                  <a:lnTo>
                    <a:pt x="244023" y="82943"/>
                  </a:lnTo>
                  <a:lnTo>
                    <a:pt x="244534" y="83250"/>
                  </a:lnTo>
                  <a:lnTo>
                    <a:pt x="244739" y="84068"/>
                  </a:lnTo>
                  <a:lnTo>
                    <a:pt x="245659" y="83148"/>
                  </a:lnTo>
                  <a:lnTo>
                    <a:pt x="245761" y="83966"/>
                  </a:lnTo>
                  <a:lnTo>
                    <a:pt x="246580" y="84068"/>
                  </a:lnTo>
                  <a:lnTo>
                    <a:pt x="246784" y="84580"/>
                  </a:lnTo>
                  <a:lnTo>
                    <a:pt x="249648" y="85909"/>
                  </a:lnTo>
                  <a:lnTo>
                    <a:pt x="249443" y="86011"/>
                  </a:lnTo>
                  <a:lnTo>
                    <a:pt x="249648" y="86011"/>
                  </a:lnTo>
                  <a:lnTo>
                    <a:pt x="250261" y="87443"/>
                  </a:lnTo>
                  <a:lnTo>
                    <a:pt x="249852" y="87545"/>
                  </a:lnTo>
                  <a:lnTo>
                    <a:pt x="250057" y="88057"/>
                  </a:lnTo>
                  <a:lnTo>
                    <a:pt x="249852" y="88466"/>
                  </a:lnTo>
                  <a:lnTo>
                    <a:pt x="251080" y="88159"/>
                  </a:lnTo>
                  <a:lnTo>
                    <a:pt x="251080" y="88670"/>
                  </a:lnTo>
                  <a:lnTo>
                    <a:pt x="251693" y="89386"/>
                  </a:lnTo>
                  <a:lnTo>
                    <a:pt x="253534" y="89386"/>
                  </a:lnTo>
                  <a:lnTo>
                    <a:pt x="253841" y="88977"/>
                  </a:lnTo>
                  <a:lnTo>
                    <a:pt x="252920" y="88466"/>
                  </a:lnTo>
                  <a:lnTo>
                    <a:pt x="254455" y="88261"/>
                  </a:lnTo>
                  <a:lnTo>
                    <a:pt x="254455" y="88159"/>
                  </a:lnTo>
                  <a:lnTo>
                    <a:pt x="254557" y="88159"/>
                  </a:lnTo>
                  <a:lnTo>
                    <a:pt x="254250" y="87750"/>
                  </a:lnTo>
                  <a:lnTo>
                    <a:pt x="254864" y="87955"/>
                  </a:lnTo>
                  <a:lnTo>
                    <a:pt x="255375" y="87852"/>
                  </a:lnTo>
                  <a:lnTo>
                    <a:pt x="257625" y="90307"/>
                  </a:lnTo>
                  <a:lnTo>
                    <a:pt x="260080" y="91023"/>
                  </a:lnTo>
                  <a:lnTo>
                    <a:pt x="260080" y="90716"/>
                  </a:lnTo>
                  <a:lnTo>
                    <a:pt x="260489" y="90614"/>
                  </a:lnTo>
                  <a:lnTo>
                    <a:pt x="259670" y="90307"/>
                  </a:lnTo>
                  <a:lnTo>
                    <a:pt x="259670" y="90102"/>
                  </a:lnTo>
                  <a:lnTo>
                    <a:pt x="259159" y="89386"/>
                  </a:lnTo>
                  <a:lnTo>
                    <a:pt x="258648" y="89386"/>
                  </a:lnTo>
                  <a:lnTo>
                    <a:pt x="257318" y="87034"/>
                  </a:lnTo>
                  <a:lnTo>
                    <a:pt x="258136" y="86932"/>
                  </a:lnTo>
                  <a:lnTo>
                    <a:pt x="256500" y="85705"/>
                  </a:lnTo>
                  <a:lnTo>
                    <a:pt x="256398" y="84989"/>
                  </a:lnTo>
                  <a:lnTo>
                    <a:pt x="251898" y="82636"/>
                  </a:lnTo>
                  <a:lnTo>
                    <a:pt x="249545" y="81716"/>
                  </a:lnTo>
                  <a:lnTo>
                    <a:pt x="248727" y="81920"/>
                  </a:lnTo>
                  <a:lnTo>
                    <a:pt x="248727" y="82125"/>
                  </a:lnTo>
                  <a:lnTo>
                    <a:pt x="246989" y="83455"/>
                  </a:lnTo>
                  <a:lnTo>
                    <a:pt x="246375" y="82636"/>
                  </a:lnTo>
                  <a:lnTo>
                    <a:pt x="246273" y="82943"/>
                  </a:lnTo>
                  <a:lnTo>
                    <a:pt x="245864" y="80795"/>
                  </a:lnTo>
                  <a:lnTo>
                    <a:pt x="244636" y="80386"/>
                  </a:lnTo>
                  <a:close/>
                  <a:moveTo>
                    <a:pt x="242693" y="91534"/>
                  </a:moveTo>
                  <a:lnTo>
                    <a:pt x="241977" y="91636"/>
                  </a:lnTo>
                  <a:lnTo>
                    <a:pt x="241977" y="91841"/>
                  </a:lnTo>
                  <a:lnTo>
                    <a:pt x="242386" y="92352"/>
                  </a:lnTo>
                  <a:lnTo>
                    <a:pt x="242693" y="91534"/>
                  </a:lnTo>
                  <a:close/>
                  <a:moveTo>
                    <a:pt x="285750" y="96648"/>
                  </a:moveTo>
                  <a:lnTo>
                    <a:pt x="285545" y="96750"/>
                  </a:lnTo>
                  <a:lnTo>
                    <a:pt x="284420" y="97159"/>
                  </a:lnTo>
                  <a:lnTo>
                    <a:pt x="284216" y="97261"/>
                  </a:lnTo>
                  <a:lnTo>
                    <a:pt x="285239" y="97261"/>
                  </a:lnTo>
                  <a:lnTo>
                    <a:pt x="285750" y="96648"/>
                  </a:lnTo>
                  <a:close/>
                  <a:moveTo>
                    <a:pt x="285648" y="97057"/>
                  </a:moveTo>
                  <a:lnTo>
                    <a:pt x="285239" y="97261"/>
                  </a:lnTo>
                  <a:lnTo>
                    <a:pt x="285545" y="97261"/>
                  </a:lnTo>
                  <a:lnTo>
                    <a:pt x="285648" y="97057"/>
                  </a:lnTo>
                  <a:close/>
                  <a:moveTo>
                    <a:pt x="284011" y="98080"/>
                  </a:moveTo>
                  <a:lnTo>
                    <a:pt x="282886" y="98591"/>
                  </a:lnTo>
                  <a:lnTo>
                    <a:pt x="283807" y="98693"/>
                  </a:lnTo>
                  <a:lnTo>
                    <a:pt x="284114" y="98386"/>
                  </a:lnTo>
                  <a:lnTo>
                    <a:pt x="284011" y="98080"/>
                  </a:lnTo>
                  <a:close/>
                  <a:moveTo>
                    <a:pt x="168852" y="92761"/>
                  </a:moveTo>
                  <a:lnTo>
                    <a:pt x="168136" y="92864"/>
                  </a:lnTo>
                  <a:lnTo>
                    <a:pt x="168136" y="93682"/>
                  </a:lnTo>
                  <a:lnTo>
                    <a:pt x="167318" y="94295"/>
                  </a:lnTo>
                  <a:lnTo>
                    <a:pt x="167318" y="95114"/>
                  </a:lnTo>
                  <a:lnTo>
                    <a:pt x="166807" y="95420"/>
                  </a:lnTo>
                  <a:lnTo>
                    <a:pt x="166705" y="95318"/>
                  </a:lnTo>
                  <a:lnTo>
                    <a:pt x="165886" y="96341"/>
                  </a:lnTo>
                  <a:lnTo>
                    <a:pt x="165375" y="96239"/>
                  </a:lnTo>
                  <a:lnTo>
                    <a:pt x="164966" y="96443"/>
                  </a:lnTo>
                  <a:lnTo>
                    <a:pt x="164761" y="96443"/>
                  </a:lnTo>
                  <a:lnTo>
                    <a:pt x="164045" y="96955"/>
                  </a:lnTo>
                  <a:lnTo>
                    <a:pt x="163330" y="105955"/>
                  </a:lnTo>
                  <a:lnTo>
                    <a:pt x="163943" y="106261"/>
                  </a:lnTo>
                  <a:lnTo>
                    <a:pt x="165477" y="105852"/>
                  </a:lnTo>
                  <a:lnTo>
                    <a:pt x="168750" y="96034"/>
                  </a:lnTo>
                  <a:lnTo>
                    <a:pt x="169159" y="96341"/>
                  </a:lnTo>
                  <a:lnTo>
                    <a:pt x="169364" y="96136"/>
                  </a:lnTo>
                  <a:lnTo>
                    <a:pt x="168852" y="92761"/>
                  </a:lnTo>
                  <a:close/>
                  <a:moveTo>
                    <a:pt x="79364" y="112500"/>
                  </a:moveTo>
                  <a:lnTo>
                    <a:pt x="79057" y="112807"/>
                  </a:lnTo>
                  <a:lnTo>
                    <a:pt x="79057" y="113011"/>
                  </a:lnTo>
                  <a:lnTo>
                    <a:pt x="79364" y="112500"/>
                  </a:lnTo>
                  <a:close/>
                  <a:moveTo>
                    <a:pt x="185114" y="3784"/>
                  </a:moveTo>
                  <a:lnTo>
                    <a:pt x="184091" y="4398"/>
                  </a:lnTo>
                  <a:lnTo>
                    <a:pt x="184909" y="4705"/>
                  </a:lnTo>
                  <a:lnTo>
                    <a:pt x="183273" y="4705"/>
                  </a:lnTo>
                  <a:lnTo>
                    <a:pt x="183989" y="5011"/>
                  </a:lnTo>
                  <a:lnTo>
                    <a:pt x="184193" y="5318"/>
                  </a:lnTo>
                  <a:lnTo>
                    <a:pt x="184193" y="5318"/>
                  </a:lnTo>
                  <a:lnTo>
                    <a:pt x="183784" y="5011"/>
                  </a:lnTo>
                  <a:lnTo>
                    <a:pt x="180102" y="5114"/>
                  </a:lnTo>
                  <a:lnTo>
                    <a:pt x="180920" y="5216"/>
                  </a:lnTo>
                  <a:lnTo>
                    <a:pt x="177341" y="5727"/>
                  </a:lnTo>
                  <a:lnTo>
                    <a:pt x="177545" y="5932"/>
                  </a:lnTo>
                  <a:lnTo>
                    <a:pt x="177341" y="6239"/>
                  </a:lnTo>
                  <a:lnTo>
                    <a:pt x="176830" y="6136"/>
                  </a:lnTo>
                  <a:lnTo>
                    <a:pt x="177955" y="6443"/>
                  </a:lnTo>
                  <a:lnTo>
                    <a:pt x="177239" y="6443"/>
                  </a:lnTo>
                  <a:lnTo>
                    <a:pt x="178568" y="6852"/>
                  </a:lnTo>
                  <a:lnTo>
                    <a:pt x="178057" y="7057"/>
                  </a:lnTo>
                  <a:lnTo>
                    <a:pt x="178261" y="6852"/>
                  </a:lnTo>
                  <a:lnTo>
                    <a:pt x="178261" y="6852"/>
                  </a:lnTo>
                  <a:lnTo>
                    <a:pt x="174477" y="7057"/>
                  </a:lnTo>
                  <a:lnTo>
                    <a:pt x="174682" y="7466"/>
                  </a:lnTo>
                  <a:lnTo>
                    <a:pt x="174989" y="7568"/>
                  </a:lnTo>
                  <a:lnTo>
                    <a:pt x="175091" y="7773"/>
                  </a:lnTo>
                  <a:lnTo>
                    <a:pt x="177648" y="8795"/>
                  </a:lnTo>
                  <a:lnTo>
                    <a:pt x="177852" y="9205"/>
                  </a:lnTo>
                  <a:lnTo>
                    <a:pt x="178261" y="9511"/>
                  </a:lnTo>
                  <a:lnTo>
                    <a:pt x="178169" y="9789"/>
                  </a:lnTo>
                  <a:lnTo>
                    <a:pt x="177852" y="9409"/>
                  </a:lnTo>
                  <a:lnTo>
                    <a:pt x="177545" y="9716"/>
                  </a:lnTo>
                  <a:lnTo>
                    <a:pt x="177034" y="8591"/>
                  </a:lnTo>
                  <a:lnTo>
                    <a:pt x="173352" y="8182"/>
                  </a:lnTo>
                  <a:lnTo>
                    <a:pt x="173352" y="8182"/>
                  </a:lnTo>
                  <a:lnTo>
                    <a:pt x="173966" y="8489"/>
                  </a:lnTo>
                  <a:lnTo>
                    <a:pt x="172636" y="8489"/>
                  </a:lnTo>
                  <a:lnTo>
                    <a:pt x="175193" y="9205"/>
                  </a:lnTo>
                  <a:lnTo>
                    <a:pt x="175193" y="9205"/>
                  </a:lnTo>
                  <a:lnTo>
                    <a:pt x="172432" y="8898"/>
                  </a:lnTo>
                  <a:lnTo>
                    <a:pt x="172432" y="8693"/>
                  </a:lnTo>
                  <a:lnTo>
                    <a:pt x="172227" y="8591"/>
                  </a:lnTo>
                  <a:lnTo>
                    <a:pt x="172227" y="8182"/>
                  </a:lnTo>
                  <a:lnTo>
                    <a:pt x="171307" y="7670"/>
                  </a:lnTo>
                  <a:lnTo>
                    <a:pt x="171307" y="7670"/>
                  </a:lnTo>
                  <a:lnTo>
                    <a:pt x="171716" y="8284"/>
                  </a:lnTo>
                  <a:lnTo>
                    <a:pt x="171102" y="8898"/>
                  </a:lnTo>
                  <a:lnTo>
                    <a:pt x="172227" y="9511"/>
                  </a:lnTo>
                  <a:lnTo>
                    <a:pt x="172330" y="10330"/>
                  </a:lnTo>
                  <a:lnTo>
                    <a:pt x="174886" y="11148"/>
                  </a:lnTo>
                  <a:lnTo>
                    <a:pt x="173966" y="11045"/>
                  </a:lnTo>
                  <a:lnTo>
                    <a:pt x="174170" y="12068"/>
                  </a:lnTo>
                  <a:lnTo>
                    <a:pt x="173966" y="12375"/>
                  </a:lnTo>
                  <a:lnTo>
                    <a:pt x="173966" y="12580"/>
                  </a:lnTo>
                  <a:lnTo>
                    <a:pt x="173250" y="13398"/>
                  </a:lnTo>
                  <a:lnTo>
                    <a:pt x="170898" y="12886"/>
                  </a:lnTo>
                  <a:lnTo>
                    <a:pt x="172023" y="12886"/>
                  </a:lnTo>
                  <a:lnTo>
                    <a:pt x="172125" y="13091"/>
                  </a:lnTo>
                  <a:lnTo>
                    <a:pt x="172636" y="12989"/>
                  </a:lnTo>
                  <a:lnTo>
                    <a:pt x="172330" y="12784"/>
                  </a:lnTo>
                  <a:lnTo>
                    <a:pt x="173045" y="11761"/>
                  </a:lnTo>
                  <a:lnTo>
                    <a:pt x="173045" y="11352"/>
                  </a:lnTo>
                  <a:lnTo>
                    <a:pt x="172330" y="11045"/>
                  </a:lnTo>
                  <a:lnTo>
                    <a:pt x="171307" y="9920"/>
                  </a:lnTo>
                  <a:lnTo>
                    <a:pt x="171307" y="9716"/>
                  </a:lnTo>
                  <a:lnTo>
                    <a:pt x="171102" y="9307"/>
                  </a:lnTo>
                  <a:lnTo>
                    <a:pt x="170284" y="8898"/>
                  </a:lnTo>
                  <a:lnTo>
                    <a:pt x="170182" y="7875"/>
                  </a:lnTo>
                  <a:lnTo>
                    <a:pt x="168545" y="7670"/>
                  </a:lnTo>
                  <a:lnTo>
                    <a:pt x="167727" y="8080"/>
                  </a:lnTo>
                  <a:lnTo>
                    <a:pt x="167625" y="8795"/>
                  </a:lnTo>
                  <a:lnTo>
                    <a:pt x="167114" y="9205"/>
                  </a:lnTo>
                  <a:lnTo>
                    <a:pt x="167727" y="9409"/>
                  </a:lnTo>
                  <a:lnTo>
                    <a:pt x="168034" y="10432"/>
                  </a:lnTo>
                  <a:lnTo>
                    <a:pt x="169875" y="10943"/>
                  </a:lnTo>
                  <a:lnTo>
                    <a:pt x="169568" y="11557"/>
                  </a:lnTo>
                  <a:lnTo>
                    <a:pt x="164148" y="10227"/>
                  </a:lnTo>
                  <a:lnTo>
                    <a:pt x="163636" y="10432"/>
                  </a:lnTo>
                  <a:lnTo>
                    <a:pt x="164352" y="10841"/>
                  </a:lnTo>
                  <a:lnTo>
                    <a:pt x="163841" y="11250"/>
                  </a:lnTo>
                  <a:lnTo>
                    <a:pt x="159648" y="11557"/>
                  </a:lnTo>
                  <a:lnTo>
                    <a:pt x="159648" y="11557"/>
                  </a:lnTo>
                  <a:lnTo>
                    <a:pt x="159955" y="11455"/>
                  </a:lnTo>
                  <a:lnTo>
                    <a:pt x="159852" y="11045"/>
                  </a:lnTo>
                  <a:lnTo>
                    <a:pt x="159750" y="11045"/>
                  </a:lnTo>
                  <a:lnTo>
                    <a:pt x="158830" y="11250"/>
                  </a:lnTo>
                  <a:lnTo>
                    <a:pt x="159136" y="11352"/>
                  </a:lnTo>
                  <a:lnTo>
                    <a:pt x="158830" y="11455"/>
                  </a:lnTo>
                  <a:lnTo>
                    <a:pt x="158625" y="11352"/>
                  </a:lnTo>
                  <a:lnTo>
                    <a:pt x="156682" y="11966"/>
                  </a:lnTo>
                  <a:lnTo>
                    <a:pt x="156886" y="12068"/>
                  </a:lnTo>
                  <a:lnTo>
                    <a:pt x="155250" y="12886"/>
                  </a:lnTo>
                  <a:lnTo>
                    <a:pt x="154330" y="12273"/>
                  </a:lnTo>
                  <a:lnTo>
                    <a:pt x="155352" y="11966"/>
                  </a:lnTo>
                  <a:lnTo>
                    <a:pt x="152898" y="11250"/>
                  </a:lnTo>
                  <a:lnTo>
                    <a:pt x="153614" y="11659"/>
                  </a:lnTo>
                  <a:lnTo>
                    <a:pt x="153614" y="12375"/>
                  </a:lnTo>
                  <a:lnTo>
                    <a:pt x="154227" y="12784"/>
                  </a:lnTo>
                  <a:lnTo>
                    <a:pt x="154227" y="13602"/>
                  </a:lnTo>
                  <a:lnTo>
                    <a:pt x="152795" y="13193"/>
                  </a:lnTo>
                  <a:lnTo>
                    <a:pt x="151466" y="14011"/>
                  </a:lnTo>
                  <a:lnTo>
                    <a:pt x="152080" y="14727"/>
                  </a:lnTo>
                  <a:lnTo>
                    <a:pt x="151568" y="14932"/>
                  </a:lnTo>
                  <a:lnTo>
                    <a:pt x="149625" y="14318"/>
                  </a:lnTo>
                  <a:lnTo>
                    <a:pt x="149420" y="14523"/>
                  </a:lnTo>
                  <a:lnTo>
                    <a:pt x="150545" y="15239"/>
                  </a:lnTo>
                  <a:lnTo>
                    <a:pt x="150341" y="15545"/>
                  </a:lnTo>
                  <a:lnTo>
                    <a:pt x="146864" y="13295"/>
                  </a:lnTo>
                  <a:lnTo>
                    <a:pt x="147068" y="13193"/>
                  </a:lnTo>
                  <a:lnTo>
                    <a:pt x="145636" y="12580"/>
                  </a:lnTo>
                  <a:lnTo>
                    <a:pt x="151057" y="13398"/>
                  </a:lnTo>
                  <a:lnTo>
                    <a:pt x="151977" y="12886"/>
                  </a:lnTo>
                  <a:lnTo>
                    <a:pt x="151875" y="12375"/>
                  </a:lnTo>
                  <a:lnTo>
                    <a:pt x="150648" y="11659"/>
                  </a:lnTo>
                  <a:lnTo>
                    <a:pt x="150750" y="11761"/>
                  </a:lnTo>
                  <a:lnTo>
                    <a:pt x="150750" y="11761"/>
                  </a:lnTo>
                  <a:lnTo>
                    <a:pt x="146455" y="10636"/>
                  </a:lnTo>
                  <a:lnTo>
                    <a:pt x="146045" y="10841"/>
                  </a:lnTo>
                  <a:lnTo>
                    <a:pt x="145841" y="10636"/>
                  </a:lnTo>
                  <a:lnTo>
                    <a:pt x="145841" y="10534"/>
                  </a:lnTo>
                  <a:lnTo>
                    <a:pt x="145227" y="10432"/>
                  </a:lnTo>
                  <a:lnTo>
                    <a:pt x="145739" y="10330"/>
                  </a:lnTo>
                  <a:lnTo>
                    <a:pt x="145023" y="10125"/>
                  </a:lnTo>
                  <a:lnTo>
                    <a:pt x="145023" y="10125"/>
                  </a:lnTo>
                  <a:lnTo>
                    <a:pt x="145125" y="10227"/>
                  </a:lnTo>
                  <a:lnTo>
                    <a:pt x="143591" y="10330"/>
                  </a:lnTo>
                  <a:lnTo>
                    <a:pt x="143489" y="10125"/>
                  </a:lnTo>
                  <a:lnTo>
                    <a:pt x="142875" y="9920"/>
                  </a:lnTo>
                  <a:lnTo>
                    <a:pt x="144102" y="9920"/>
                  </a:lnTo>
                  <a:lnTo>
                    <a:pt x="143080" y="9409"/>
                  </a:lnTo>
                  <a:lnTo>
                    <a:pt x="142466" y="9920"/>
                  </a:lnTo>
                  <a:lnTo>
                    <a:pt x="141955" y="9409"/>
                  </a:lnTo>
                  <a:lnTo>
                    <a:pt x="141443" y="9716"/>
                  </a:lnTo>
                  <a:lnTo>
                    <a:pt x="141341" y="9511"/>
                  </a:lnTo>
                  <a:lnTo>
                    <a:pt x="141136" y="9409"/>
                  </a:lnTo>
                  <a:lnTo>
                    <a:pt x="140727" y="9920"/>
                  </a:lnTo>
                  <a:lnTo>
                    <a:pt x="140830" y="9409"/>
                  </a:lnTo>
                  <a:lnTo>
                    <a:pt x="140318" y="9307"/>
                  </a:lnTo>
                  <a:lnTo>
                    <a:pt x="139398" y="10023"/>
                  </a:lnTo>
                  <a:lnTo>
                    <a:pt x="138886" y="9716"/>
                  </a:lnTo>
                  <a:lnTo>
                    <a:pt x="138068" y="9920"/>
                  </a:lnTo>
                  <a:lnTo>
                    <a:pt x="138477" y="10227"/>
                  </a:lnTo>
                  <a:lnTo>
                    <a:pt x="137864" y="10125"/>
                  </a:lnTo>
                  <a:lnTo>
                    <a:pt x="137557" y="10330"/>
                  </a:lnTo>
                  <a:lnTo>
                    <a:pt x="137761" y="10534"/>
                  </a:lnTo>
                  <a:lnTo>
                    <a:pt x="137352" y="10636"/>
                  </a:lnTo>
                  <a:lnTo>
                    <a:pt x="137352" y="10125"/>
                  </a:lnTo>
                  <a:lnTo>
                    <a:pt x="137045" y="10534"/>
                  </a:lnTo>
                  <a:lnTo>
                    <a:pt x="136330" y="10534"/>
                  </a:lnTo>
                  <a:lnTo>
                    <a:pt x="136636" y="10636"/>
                  </a:lnTo>
                  <a:lnTo>
                    <a:pt x="136125" y="10636"/>
                  </a:lnTo>
                  <a:lnTo>
                    <a:pt x="136125" y="10841"/>
                  </a:lnTo>
                  <a:lnTo>
                    <a:pt x="135818" y="10841"/>
                  </a:lnTo>
                  <a:lnTo>
                    <a:pt x="135716" y="11045"/>
                  </a:lnTo>
                  <a:lnTo>
                    <a:pt x="135102" y="11352"/>
                  </a:lnTo>
                  <a:lnTo>
                    <a:pt x="135818" y="11455"/>
                  </a:lnTo>
                  <a:lnTo>
                    <a:pt x="135307" y="11455"/>
                  </a:lnTo>
                  <a:lnTo>
                    <a:pt x="135102" y="11761"/>
                  </a:lnTo>
                  <a:lnTo>
                    <a:pt x="135102" y="11966"/>
                  </a:lnTo>
                  <a:lnTo>
                    <a:pt x="134795" y="11659"/>
                  </a:lnTo>
                  <a:lnTo>
                    <a:pt x="134386" y="11761"/>
                  </a:lnTo>
                  <a:lnTo>
                    <a:pt x="134591" y="11864"/>
                  </a:lnTo>
                  <a:lnTo>
                    <a:pt x="134080" y="12068"/>
                  </a:lnTo>
                  <a:lnTo>
                    <a:pt x="134386" y="12068"/>
                  </a:lnTo>
                  <a:lnTo>
                    <a:pt x="134693" y="12273"/>
                  </a:lnTo>
                  <a:lnTo>
                    <a:pt x="134693" y="12375"/>
                  </a:lnTo>
                  <a:lnTo>
                    <a:pt x="133875" y="12477"/>
                  </a:lnTo>
                  <a:lnTo>
                    <a:pt x="134591" y="12477"/>
                  </a:lnTo>
                  <a:lnTo>
                    <a:pt x="133364" y="12784"/>
                  </a:lnTo>
                  <a:lnTo>
                    <a:pt x="133568" y="12886"/>
                  </a:lnTo>
                  <a:lnTo>
                    <a:pt x="133057" y="13091"/>
                  </a:lnTo>
                  <a:lnTo>
                    <a:pt x="133670" y="13295"/>
                  </a:lnTo>
                  <a:lnTo>
                    <a:pt x="132852" y="13500"/>
                  </a:lnTo>
                  <a:lnTo>
                    <a:pt x="133057" y="13602"/>
                  </a:lnTo>
                  <a:lnTo>
                    <a:pt x="133057" y="14216"/>
                  </a:lnTo>
                  <a:lnTo>
                    <a:pt x="132750" y="14420"/>
                  </a:lnTo>
                  <a:lnTo>
                    <a:pt x="132545" y="14318"/>
                  </a:lnTo>
                  <a:lnTo>
                    <a:pt x="131932" y="14727"/>
                  </a:lnTo>
                  <a:lnTo>
                    <a:pt x="132239" y="14625"/>
                  </a:lnTo>
                  <a:lnTo>
                    <a:pt x="130909" y="15750"/>
                  </a:lnTo>
                  <a:lnTo>
                    <a:pt x="131114" y="15852"/>
                  </a:lnTo>
                  <a:lnTo>
                    <a:pt x="131830" y="15545"/>
                  </a:lnTo>
                  <a:lnTo>
                    <a:pt x="131727" y="15443"/>
                  </a:lnTo>
                  <a:lnTo>
                    <a:pt x="132136" y="15443"/>
                  </a:lnTo>
                  <a:lnTo>
                    <a:pt x="131932" y="15545"/>
                  </a:lnTo>
                  <a:lnTo>
                    <a:pt x="132136" y="15545"/>
                  </a:lnTo>
                  <a:lnTo>
                    <a:pt x="131727" y="15852"/>
                  </a:lnTo>
                  <a:lnTo>
                    <a:pt x="130091" y="15955"/>
                  </a:lnTo>
                  <a:lnTo>
                    <a:pt x="129886" y="16057"/>
                  </a:lnTo>
                  <a:lnTo>
                    <a:pt x="130193" y="16466"/>
                  </a:lnTo>
                  <a:lnTo>
                    <a:pt x="128864" y="16568"/>
                  </a:lnTo>
                  <a:lnTo>
                    <a:pt x="129886" y="16568"/>
                  </a:lnTo>
                  <a:lnTo>
                    <a:pt x="128785" y="16804"/>
                  </a:lnTo>
                  <a:lnTo>
                    <a:pt x="128785" y="16804"/>
                  </a:lnTo>
                  <a:lnTo>
                    <a:pt x="127841" y="17182"/>
                  </a:lnTo>
                  <a:lnTo>
                    <a:pt x="128966" y="17386"/>
                  </a:lnTo>
                  <a:lnTo>
                    <a:pt x="127739" y="17386"/>
                  </a:lnTo>
                  <a:lnTo>
                    <a:pt x="128045" y="18102"/>
                  </a:lnTo>
                  <a:lnTo>
                    <a:pt x="129477" y="17795"/>
                  </a:lnTo>
                  <a:lnTo>
                    <a:pt x="129580" y="18000"/>
                  </a:lnTo>
                  <a:lnTo>
                    <a:pt x="129273" y="18205"/>
                  </a:lnTo>
                  <a:lnTo>
                    <a:pt x="127739" y="18307"/>
                  </a:lnTo>
                  <a:lnTo>
                    <a:pt x="128250" y="18511"/>
                  </a:lnTo>
                  <a:lnTo>
                    <a:pt x="127943" y="18818"/>
                  </a:lnTo>
                  <a:lnTo>
                    <a:pt x="128250" y="19023"/>
                  </a:lnTo>
                  <a:lnTo>
                    <a:pt x="127943" y="19227"/>
                  </a:lnTo>
                  <a:lnTo>
                    <a:pt x="128045" y="19330"/>
                  </a:lnTo>
                  <a:lnTo>
                    <a:pt x="129170" y="18614"/>
                  </a:lnTo>
                  <a:lnTo>
                    <a:pt x="128864" y="19023"/>
                  </a:lnTo>
                  <a:lnTo>
                    <a:pt x="128557" y="19023"/>
                  </a:lnTo>
                  <a:lnTo>
                    <a:pt x="128659" y="19330"/>
                  </a:lnTo>
                  <a:lnTo>
                    <a:pt x="127943" y="19841"/>
                  </a:lnTo>
                  <a:lnTo>
                    <a:pt x="128864" y="19534"/>
                  </a:lnTo>
                  <a:lnTo>
                    <a:pt x="128557" y="19841"/>
                  </a:lnTo>
                  <a:lnTo>
                    <a:pt x="128864" y="20045"/>
                  </a:lnTo>
                  <a:lnTo>
                    <a:pt x="128250" y="20352"/>
                  </a:lnTo>
                  <a:lnTo>
                    <a:pt x="129068" y="20761"/>
                  </a:lnTo>
                  <a:lnTo>
                    <a:pt x="128966" y="20864"/>
                  </a:lnTo>
                  <a:lnTo>
                    <a:pt x="131011" y="20148"/>
                  </a:lnTo>
                  <a:lnTo>
                    <a:pt x="131114" y="19943"/>
                  </a:lnTo>
                  <a:lnTo>
                    <a:pt x="131727" y="19841"/>
                  </a:lnTo>
                  <a:lnTo>
                    <a:pt x="131727" y="19534"/>
                  </a:lnTo>
                  <a:lnTo>
                    <a:pt x="131830" y="19330"/>
                  </a:lnTo>
                  <a:lnTo>
                    <a:pt x="132034" y="19841"/>
                  </a:lnTo>
                  <a:lnTo>
                    <a:pt x="132443" y="20045"/>
                  </a:lnTo>
                  <a:lnTo>
                    <a:pt x="132443" y="20659"/>
                  </a:lnTo>
                  <a:lnTo>
                    <a:pt x="133670" y="22295"/>
                  </a:lnTo>
                  <a:lnTo>
                    <a:pt x="133670" y="22500"/>
                  </a:lnTo>
                  <a:lnTo>
                    <a:pt x="133773" y="22705"/>
                  </a:lnTo>
                  <a:lnTo>
                    <a:pt x="133466" y="22705"/>
                  </a:lnTo>
                  <a:lnTo>
                    <a:pt x="133875" y="23523"/>
                  </a:lnTo>
                  <a:lnTo>
                    <a:pt x="135000" y="23318"/>
                  </a:lnTo>
                  <a:lnTo>
                    <a:pt x="135205" y="22909"/>
                  </a:lnTo>
                  <a:lnTo>
                    <a:pt x="136023" y="22807"/>
                  </a:lnTo>
                  <a:lnTo>
                    <a:pt x="136432" y="20557"/>
                  </a:lnTo>
                  <a:lnTo>
                    <a:pt x="136636" y="20557"/>
                  </a:lnTo>
                  <a:lnTo>
                    <a:pt x="136023" y="20455"/>
                  </a:lnTo>
                  <a:lnTo>
                    <a:pt x="137761" y="19739"/>
                  </a:lnTo>
                  <a:lnTo>
                    <a:pt x="137250" y="19739"/>
                  </a:lnTo>
                  <a:lnTo>
                    <a:pt x="137966" y="19227"/>
                  </a:lnTo>
                  <a:lnTo>
                    <a:pt x="136636" y="18307"/>
                  </a:lnTo>
                  <a:lnTo>
                    <a:pt x="136432" y="17489"/>
                  </a:lnTo>
                  <a:lnTo>
                    <a:pt x="136636" y="17591"/>
                  </a:lnTo>
                  <a:lnTo>
                    <a:pt x="136636" y="17080"/>
                  </a:lnTo>
                  <a:lnTo>
                    <a:pt x="136432" y="16773"/>
                  </a:lnTo>
                  <a:lnTo>
                    <a:pt x="136943" y="16670"/>
                  </a:lnTo>
                  <a:lnTo>
                    <a:pt x="136841" y="16670"/>
                  </a:lnTo>
                  <a:lnTo>
                    <a:pt x="136739" y="16466"/>
                  </a:lnTo>
                  <a:lnTo>
                    <a:pt x="137148" y="16364"/>
                  </a:lnTo>
                  <a:lnTo>
                    <a:pt x="137045" y="16364"/>
                  </a:lnTo>
                  <a:lnTo>
                    <a:pt x="137455" y="16159"/>
                  </a:lnTo>
                  <a:lnTo>
                    <a:pt x="137352" y="16057"/>
                  </a:lnTo>
                  <a:lnTo>
                    <a:pt x="137864" y="15955"/>
                  </a:lnTo>
                  <a:lnTo>
                    <a:pt x="137864" y="15852"/>
                  </a:lnTo>
                  <a:lnTo>
                    <a:pt x="139091" y="15034"/>
                  </a:lnTo>
                  <a:lnTo>
                    <a:pt x="138784" y="14625"/>
                  </a:lnTo>
                  <a:lnTo>
                    <a:pt x="138886" y="14216"/>
                  </a:lnTo>
                  <a:lnTo>
                    <a:pt x="138989" y="14216"/>
                  </a:lnTo>
                  <a:lnTo>
                    <a:pt x="139193" y="14011"/>
                  </a:lnTo>
                  <a:lnTo>
                    <a:pt x="139398" y="14011"/>
                  </a:lnTo>
                  <a:lnTo>
                    <a:pt x="139295" y="13909"/>
                  </a:lnTo>
                  <a:lnTo>
                    <a:pt x="141034" y="13705"/>
                  </a:lnTo>
                  <a:lnTo>
                    <a:pt x="141545" y="14011"/>
                  </a:lnTo>
                  <a:lnTo>
                    <a:pt x="141648" y="14625"/>
                  </a:lnTo>
                  <a:lnTo>
                    <a:pt x="139807" y="15852"/>
                  </a:lnTo>
                  <a:lnTo>
                    <a:pt x="139807" y="15955"/>
                  </a:lnTo>
                  <a:lnTo>
                    <a:pt x="139295" y="16159"/>
                  </a:lnTo>
                  <a:lnTo>
                    <a:pt x="139602" y="18511"/>
                  </a:lnTo>
                  <a:lnTo>
                    <a:pt x="140523" y="18716"/>
                  </a:lnTo>
                  <a:lnTo>
                    <a:pt x="140523" y="18920"/>
                  </a:lnTo>
                  <a:lnTo>
                    <a:pt x="140727" y="18920"/>
                  </a:lnTo>
                  <a:lnTo>
                    <a:pt x="140830" y="19330"/>
                  </a:lnTo>
                  <a:lnTo>
                    <a:pt x="142977" y="18818"/>
                  </a:lnTo>
                  <a:lnTo>
                    <a:pt x="142875" y="18716"/>
                  </a:lnTo>
                  <a:lnTo>
                    <a:pt x="143386" y="18511"/>
                  </a:lnTo>
                  <a:lnTo>
                    <a:pt x="143284" y="18716"/>
                  </a:lnTo>
                  <a:lnTo>
                    <a:pt x="144731" y="18619"/>
                  </a:lnTo>
                  <a:lnTo>
                    <a:pt x="144731" y="18619"/>
                  </a:lnTo>
                  <a:lnTo>
                    <a:pt x="146045" y="19125"/>
                  </a:lnTo>
                  <a:lnTo>
                    <a:pt x="144920" y="19227"/>
                  </a:lnTo>
                  <a:lnTo>
                    <a:pt x="144818" y="19432"/>
                  </a:lnTo>
                  <a:lnTo>
                    <a:pt x="144614" y="19330"/>
                  </a:lnTo>
                  <a:lnTo>
                    <a:pt x="144511" y="19636"/>
                  </a:lnTo>
                  <a:lnTo>
                    <a:pt x="141750" y="19739"/>
                  </a:lnTo>
                  <a:lnTo>
                    <a:pt x="141341" y="20045"/>
                  </a:lnTo>
                  <a:lnTo>
                    <a:pt x="142261" y="20864"/>
                  </a:lnTo>
                  <a:lnTo>
                    <a:pt x="142261" y="21784"/>
                  </a:lnTo>
                  <a:lnTo>
                    <a:pt x="140318" y="21375"/>
                  </a:lnTo>
                  <a:lnTo>
                    <a:pt x="139909" y="22398"/>
                  </a:lnTo>
                  <a:lnTo>
                    <a:pt x="140011" y="23318"/>
                  </a:lnTo>
                  <a:lnTo>
                    <a:pt x="140114" y="23932"/>
                  </a:lnTo>
                  <a:lnTo>
                    <a:pt x="139807" y="23932"/>
                  </a:lnTo>
                  <a:lnTo>
                    <a:pt x="140011" y="23318"/>
                  </a:lnTo>
                  <a:lnTo>
                    <a:pt x="138886" y="24545"/>
                  </a:lnTo>
                  <a:lnTo>
                    <a:pt x="138375" y="24239"/>
                  </a:lnTo>
                  <a:lnTo>
                    <a:pt x="134693" y="24750"/>
                  </a:lnTo>
                  <a:lnTo>
                    <a:pt x="135307" y="25261"/>
                  </a:lnTo>
                  <a:lnTo>
                    <a:pt x="134795" y="25057"/>
                  </a:lnTo>
                  <a:lnTo>
                    <a:pt x="134693" y="24750"/>
                  </a:lnTo>
                  <a:lnTo>
                    <a:pt x="133773" y="24443"/>
                  </a:lnTo>
                  <a:lnTo>
                    <a:pt x="132852" y="24955"/>
                  </a:lnTo>
                  <a:lnTo>
                    <a:pt x="131625" y="24443"/>
                  </a:lnTo>
                  <a:lnTo>
                    <a:pt x="131625" y="24136"/>
                  </a:lnTo>
                  <a:lnTo>
                    <a:pt x="131318" y="23830"/>
                  </a:lnTo>
                  <a:lnTo>
                    <a:pt x="131420" y="23420"/>
                  </a:lnTo>
                  <a:lnTo>
                    <a:pt x="131727" y="23216"/>
                  </a:lnTo>
                  <a:lnTo>
                    <a:pt x="131625" y="23114"/>
                  </a:lnTo>
                  <a:lnTo>
                    <a:pt x="132341" y="22500"/>
                  </a:lnTo>
                  <a:lnTo>
                    <a:pt x="131932" y="22398"/>
                  </a:lnTo>
                  <a:lnTo>
                    <a:pt x="132034" y="21273"/>
                  </a:lnTo>
                  <a:lnTo>
                    <a:pt x="132034" y="21273"/>
                  </a:lnTo>
                  <a:lnTo>
                    <a:pt x="130602" y="21886"/>
                  </a:lnTo>
                  <a:lnTo>
                    <a:pt x="130602" y="22193"/>
                  </a:lnTo>
                  <a:lnTo>
                    <a:pt x="131011" y="22295"/>
                  </a:lnTo>
                  <a:lnTo>
                    <a:pt x="130705" y="22398"/>
                  </a:lnTo>
                  <a:lnTo>
                    <a:pt x="130295" y="22398"/>
                  </a:lnTo>
                  <a:lnTo>
                    <a:pt x="130295" y="23318"/>
                  </a:lnTo>
                  <a:lnTo>
                    <a:pt x="130909" y="24341"/>
                  </a:lnTo>
                  <a:lnTo>
                    <a:pt x="130807" y="24545"/>
                  </a:lnTo>
                  <a:lnTo>
                    <a:pt x="131625" y="25261"/>
                  </a:lnTo>
                  <a:lnTo>
                    <a:pt x="131011" y="25057"/>
                  </a:lnTo>
                  <a:lnTo>
                    <a:pt x="130705" y="25466"/>
                  </a:lnTo>
                  <a:lnTo>
                    <a:pt x="128864" y="25466"/>
                  </a:lnTo>
                  <a:lnTo>
                    <a:pt x="127739" y="26080"/>
                  </a:lnTo>
                  <a:lnTo>
                    <a:pt x="127432" y="27205"/>
                  </a:lnTo>
                  <a:lnTo>
                    <a:pt x="127227" y="27205"/>
                  </a:lnTo>
                  <a:lnTo>
                    <a:pt x="127534" y="27409"/>
                  </a:lnTo>
                  <a:lnTo>
                    <a:pt x="127534" y="27409"/>
                  </a:lnTo>
                  <a:lnTo>
                    <a:pt x="126818" y="27307"/>
                  </a:lnTo>
                  <a:lnTo>
                    <a:pt x="126818" y="27307"/>
                  </a:lnTo>
                  <a:lnTo>
                    <a:pt x="127432" y="27409"/>
                  </a:lnTo>
                  <a:lnTo>
                    <a:pt x="125386" y="28023"/>
                  </a:lnTo>
                  <a:lnTo>
                    <a:pt x="124977" y="28841"/>
                  </a:lnTo>
                  <a:lnTo>
                    <a:pt x="124261" y="29148"/>
                  </a:lnTo>
                  <a:lnTo>
                    <a:pt x="124466" y="29352"/>
                  </a:lnTo>
                  <a:lnTo>
                    <a:pt x="123239" y="29455"/>
                  </a:lnTo>
                  <a:lnTo>
                    <a:pt x="123136" y="29148"/>
                  </a:lnTo>
                  <a:lnTo>
                    <a:pt x="122727" y="29352"/>
                  </a:lnTo>
                  <a:lnTo>
                    <a:pt x="123034" y="30170"/>
                  </a:lnTo>
                  <a:lnTo>
                    <a:pt x="120375" y="30375"/>
                  </a:lnTo>
                  <a:lnTo>
                    <a:pt x="120784" y="30477"/>
                  </a:lnTo>
                  <a:lnTo>
                    <a:pt x="120477" y="30580"/>
                  </a:lnTo>
                  <a:lnTo>
                    <a:pt x="120682" y="30682"/>
                  </a:lnTo>
                  <a:lnTo>
                    <a:pt x="120375" y="30784"/>
                  </a:lnTo>
                  <a:lnTo>
                    <a:pt x="122011" y="31193"/>
                  </a:lnTo>
                  <a:lnTo>
                    <a:pt x="121909" y="31295"/>
                  </a:lnTo>
                  <a:lnTo>
                    <a:pt x="122114" y="31295"/>
                  </a:lnTo>
                  <a:lnTo>
                    <a:pt x="122114" y="31398"/>
                  </a:lnTo>
                  <a:lnTo>
                    <a:pt x="122727" y="31602"/>
                  </a:lnTo>
                  <a:lnTo>
                    <a:pt x="122420" y="31705"/>
                  </a:lnTo>
                  <a:lnTo>
                    <a:pt x="122523" y="32114"/>
                  </a:lnTo>
                  <a:lnTo>
                    <a:pt x="123239" y="32523"/>
                  </a:lnTo>
                  <a:lnTo>
                    <a:pt x="123341" y="33136"/>
                  </a:lnTo>
                  <a:lnTo>
                    <a:pt x="123136" y="33034"/>
                  </a:lnTo>
                  <a:lnTo>
                    <a:pt x="123750" y="33852"/>
                  </a:lnTo>
                  <a:lnTo>
                    <a:pt x="123750" y="33852"/>
                  </a:lnTo>
                  <a:lnTo>
                    <a:pt x="123239" y="33341"/>
                  </a:lnTo>
                  <a:lnTo>
                    <a:pt x="123136" y="34261"/>
                  </a:lnTo>
                  <a:lnTo>
                    <a:pt x="123239" y="34159"/>
                  </a:lnTo>
                  <a:lnTo>
                    <a:pt x="123239" y="34261"/>
                  </a:lnTo>
                  <a:lnTo>
                    <a:pt x="122830" y="35386"/>
                  </a:lnTo>
                  <a:lnTo>
                    <a:pt x="117409" y="35284"/>
                  </a:lnTo>
                  <a:lnTo>
                    <a:pt x="117307" y="35489"/>
                  </a:lnTo>
                  <a:lnTo>
                    <a:pt x="116898" y="35591"/>
                  </a:lnTo>
                  <a:lnTo>
                    <a:pt x="116693" y="36307"/>
                  </a:lnTo>
                  <a:lnTo>
                    <a:pt x="116898" y="36307"/>
                  </a:lnTo>
                  <a:lnTo>
                    <a:pt x="116898" y="36614"/>
                  </a:lnTo>
                  <a:lnTo>
                    <a:pt x="117000" y="36614"/>
                  </a:lnTo>
                  <a:lnTo>
                    <a:pt x="116182" y="40091"/>
                  </a:lnTo>
                  <a:lnTo>
                    <a:pt x="116795" y="39784"/>
                  </a:lnTo>
                  <a:lnTo>
                    <a:pt x="116386" y="40295"/>
                  </a:lnTo>
                  <a:lnTo>
                    <a:pt x="116687" y="40446"/>
                  </a:lnTo>
                  <a:lnTo>
                    <a:pt x="116687" y="40446"/>
                  </a:lnTo>
                  <a:lnTo>
                    <a:pt x="116489" y="41932"/>
                  </a:lnTo>
                  <a:lnTo>
                    <a:pt x="118330" y="41625"/>
                  </a:lnTo>
                  <a:lnTo>
                    <a:pt x="118739" y="42136"/>
                  </a:lnTo>
                  <a:lnTo>
                    <a:pt x="118841" y="42034"/>
                  </a:lnTo>
                  <a:lnTo>
                    <a:pt x="119455" y="42955"/>
                  </a:lnTo>
                  <a:lnTo>
                    <a:pt x="122420" y="42034"/>
                  </a:lnTo>
                  <a:lnTo>
                    <a:pt x="122727" y="41625"/>
                  </a:lnTo>
                  <a:lnTo>
                    <a:pt x="123545" y="41318"/>
                  </a:lnTo>
                  <a:lnTo>
                    <a:pt x="123852" y="40500"/>
                  </a:lnTo>
                  <a:lnTo>
                    <a:pt x="124261" y="40193"/>
                  </a:lnTo>
                  <a:lnTo>
                    <a:pt x="123955" y="39784"/>
                  </a:lnTo>
                  <a:lnTo>
                    <a:pt x="124773" y="38045"/>
                  </a:lnTo>
                  <a:lnTo>
                    <a:pt x="126818" y="36920"/>
                  </a:lnTo>
                  <a:lnTo>
                    <a:pt x="126818" y="35693"/>
                  </a:lnTo>
                  <a:lnTo>
                    <a:pt x="129682" y="35591"/>
                  </a:lnTo>
                  <a:lnTo>
                    <a:pt x="131318" y="34466"/>
                  </a:lnTo>
                  <a:lnTo>
                    <a:pt x="136943" y="38864"/>
                  </a:lnTo>
                  <a:lnTo>
                    <a:pt x="137250" y="38864"/>
                  </a:lnTo>
                  <a:lnTo>
                    <a:pt x="137761" y="40091"/>
                  </a:lnTo>
                  <a:lnTo>
                    <a:pt x="137557" y="40193"/>
                  </a:lnTo>
                  <a:lnTo>
                    <a:pt x="137352" y="40807"/>
                  </a:lnTo>
                  <a:lnTo>
                    <a:pt x="137761" y="41011"/>
                  </a:lnTo>
                  <a:lnTo>
                    <a:pt x="138170" y="39989"/>
                  </a:lnTo>
                  <a:lnTo>
                    <a:pt x="138580" y="39886"/>
                  </a:lnTo>
                  <a:lnTo>
                    <a:pt x="138477" y="39375"/>
                  </a:lnTo>
                  <a:lnTo>
                    <a:pt x="138068" y="39170"/>
                  </a:lnTo>
                  <a:lnTo>
                    <a:pt x="138375" y="38455"/>
                  </a:lnTo>
                  <a:lnTo>
                    <a:pt x="139602" y="38966"/>
                  </a:lnTo>
                  <a:lnTo>
                    <a:pt x="137455" y="37432"/>
                  </a:lnTo>
                  <a:lnTo>
                    <a:pt x="137557" y="37023"/>
                  </a:lnTo>
                  <a:lnTo>
                    <a:pt x="136432" y="36818"/>
                  </a:lnTo>
                  <a:lnTo>
                    <a:pt x="134182" y="34057"/>
                  </a:lnTo>
                  <a:lnTo>
                    <a:pt x="134284" y="33341"/>
                  </a:lnTo>
                  <a:lnTo>
                    <a:pt x="135307" y="33239"/>
                  </a:lnTo>
                  <a:lnTo>
                    <a:pt x="135205" y="33750"/>
                  </a:lnTo>
                  <a:lnTo>
                    <a:pt x="135716" y="33750"/>
                  </a:lnTo>
                  <a:lnTo>
                    <a:pt x="135818" y="33545"/>
                  </a:lnTo>
                  <a:lnTo>
                    <a:pt x="136841" y="34670"/>
                  </a:lnTo>
                  <a:lnTo>
                    <a:pt x="136534" y="34670"/>
                  </a:lnTo>
                  <a:lnTo>
                    <a:pt x="138784" y="36102"/>
                  </a:lnTo>
                  <a:lnTo>
                    <a:pt x="138170" y="35898"/>
                  </a:lnTo>
                  <a:lnTo>
                    <a:pt x="140420" y="37330"/>
                  </a:lnTo>
                  <a:lnTo>
                    <a:pt x="140420" y="38557"/>
                  </a:lnTo>
                  <a:lnTo>
                    <a:pt x="140318" y="38557"/>
                  </a:lnTo>
                  <a:lnTo>
                    <a:pt x="141955" y="39989"/>
                  </a:lnTo>
                  <a:lnTo>
                    <a:pt x="141648" y="39989"/>
                  </a:lnTo>
                  <a:lnTo>
                    <a:pt x="141955" y="40398"/>
                  </a:lnTo>
                  <a:lnTo>
                    <a:pt x="143080" y="40500"/>
                  </a:lnTo>
                  <a:lnTo>
                    <a:pt x="143489" y="40807"/>
                  </a:lnTo>
                  <a:lnTo>
                    <a:pt x="143489" y="40909"/>
                  </a:lnTo>
                  <a:lnTo>
                    <a:pt x="142159" y="40909"/>
                  </a:lnTo>
                  <a:lnTo>
                    <a:pt x="142773" y="42239"/>
                  </a:lnTo>
                  <a:lnTo>
                    <a:pt x="143284" y="42545"/>
                  </a:lnTo>
                  <a:lnTo>
                    <a:pt x="143898" y="42545"/>
                  </a:lnTo>
                  <a:lnTo>
                    <a:pt x="143489" y="41318"/>
                  </a:lnTo>
                  <a:lnTo>
                    <a:pt x="144102" y="41523"/>
                  </a:lnTo>
                  <a:lnTo>
                    <a:pt x="144102" y="41523"/>
                  </a:lnTo>
                  <a:lnTo>
                    <a:pt x="143591" y="41011"/>
                  </a:lnTo>
                  <a:lnTo>
                    <a:pt x="144205" y="41011"/>
                  </a:lnTo>
                  <a:lnTo>
                    <a:pt x="144409" y="40807"/>
                  </a:lnTo>
                  <a:lnTo>
                    <a:pt x="143182" y="39989"/>
                  </a:lnTo>
                  <a:lnTo>
                    <a:pt x="143591" y="39784"/>
                  </a:lnTo>
                  <a:lnTo>
                    <a:pt x="143386" y="39682"/>
                  </a:lnTo>
                  <a:lnTo>
                    <a:pt x="143591" y="39580"/>
                  </a:lnTo>
                  <a:lnTo>
                    <a:pt x="143693" y="39784"/>
                  </a:lnTo>
                  <a:lnTo>
                    <a:pt x="143591" y="39477"/>
                  </a:lnTo>
                  <a:lnTo>
                    <a:pt x="143080" y="38761"/>
                  </a:lnTo>
                  <a:lnTo>
                    <a:pt x="143284" y="38352"/>
                  </a:lnTo>
                  <a:lnTo>
                    <a:pt x="143740" y="38678"/>
                  </a:lnTo>
                  <a:lnTo>
                    <a:pt x="143740" y="38678"/>
                  </a:lnTo>
                  <a:lnTo>
                    <a:pt x="144205" y="38864"/>
                  </a:lnTo>
                  <a:lnTo>
                    <a:pt x="144102" y="38557"/>
                  </a:lnTo>
                  <a:lnTo>
                    <a:pt x="144511" y="38761"/>
                  </a:lnTo>
                  <a:lnTo>
                    <a:pt x="144000" y="38250"/>
                  </a:lnTo>
                  <a:lnTo>
                    <a:pt x="145636" y="38045"/>
                  </a:lnTo>
                  <a:lnTo>
                    <a:pt x="145943" y="38250"/>
                  </a:lnTo>
                  <a:lnTo>
                    <a:pt x="146557" y="38250"/>
                  </a:lnTo>
                  <a:lnTo>
                    <a:pt x="146045" y="38864"/>
                  </a:lnTo>
                  <a:lnTo>
                    <a:pt x="146864" y="39989"/>
                  </a:lnTo>
                  <a:lnTo>
                    <a:pt x="146761" y="40295"/>
                  </a:lnTo>
                  <a:lnTo>
                    <a:pt x="147068" y="40398"/>
                  </a:lnTo>
                  <a:lnTo>
                    <a:pt x="146659" y="40602"/>
                  </a:lnTo>
                  <a:lnTo>
                    <a:pt x="146455" y="40295"/>
                  </a:lnTo>
                  <a:lnTo>
                    <a:pt x="146352" y="40705"/>
                  </a:lnTo>
                  <a:lnTo>
                    <a:pt x="146864" y="40807"/>
                  </a:lnTo>
                  <a:lnTo>
                    <a:pt x="147477" y="41727"/>
                  </a:lnTo>
                  <a:lnTo>
                    <a:pt x="147375" y="41830"/>
                  </a:lnTo>
                  <a:lnTo>
                    <a:pt x="147273" y="41932"/>
                  </a:lnTo>
                  <a:lnTo>
                    <a:pt x="148091" y="41932"/>
                  </a:lnTo>
                  <a:lnTo>
                    <a:pt x="147477" y="42239"/>
                  </a:lnTo>
                  <a:lnTo>
                    <a:pt x="147989" y="42239"/>
                  </a:lnTo>
                  <a:lnTo>
                    <a:pt x="147989" y="42341"/>
                  </a:lnTo>
                  <a:lnTo>
                    <a:pt x="148602" y="42239"/>
                  </a:lnTo>
                  <a:lnTo>
                    <a:pt x="149523" y="42852"/>
                  </a:lnTo>
                  <a:lnTo>
                    <a:pt x="150136" y="42648"/>
                  </a:lnTo>
                  <a:lnTo>
                    <a:pt x="150341" y="42136"/>
                  </a:lnTo>
                  <a:lnTo>
                    <a:pt x="152080" y="42955"/>
                  </a:lnTo>
                  <a:lnTo>
                    <a:pt x="152898" y="42852"/>
                  </a:lnTo>
                  <a:lnTo>
                    <a:pt x="153511" y="42239"/>
                  </a:lnTo>
                  <a:lnTo>
                    <a:pt x="154227" y="42443"/>
                  </a:lnTo>
                  <a:lnTo>
                    <a:pt x="154636" y="42136"/>
                  </a:lnTo>
                  <a:lnTo>
                    <a:pt x="154023" y="47659"/>
                  </a:lnTo>
                  <a:lnTo>
                    <a:pt x="152489" y="48068"/>
                  </a:lnTo>
                  <a:lnTo>
                    <a:pt x="152080" y="47864"/>
                  </a:lnTo>
                  <a:lnTo>
                    <a:pt x="151773" y="47864"/>
                  </a:lnTo>
                  <a:lnTo>
                    <a:pt x="151773" y="47761"/>
                  </a:lnTo>
                  <a:lnTo>
                    <a:pt x="151261" y="47557"/>
                  </a:lnTo>
                  <a:lnTo>
                    <a:pt x="150648" y="47761"/>
                  </a:lnTo>
                  <a:lnTo>
                    <a:pt x="150955" y="47557"/>
                  </a:lnTo>
                  <a:lnTo>
                    <a:pt x="150955" y="47557"/>
                  </a:lnTo>
                  <a:lnTo>
                    <a:pt x="149114" y="48170"/>
                  </a:lnTo>
                  <a:lnTo>
                    <a:pt x="146148" y="47659"/>
                  </a:lnTo>
                  <a:lnTo>
                    <a:pt x="145739" y="47148"/>
                  </a:lnTo>
                  <a:lnTo>
                    <a:pt x="144102" y="46739"/>
                  </a:lnTo>
                  <a:lnTo>
                    <a:pt x="144000" y="46432"/>
                  </a:lnTo>
                  <a:lnTo>
                    <a:pt x="143489" y="46227"/>
                  </a:lnTo>
                  <a:lnTo>
                    <a:pt x="141955" y="46534"/>
                  </a:lnTo>
                  <a:lnTo>
                    <a:pt x="141443" y="47250"/>
                  </a:lnTo>
                  <a:lnTo>
                    <a:pt x="141648" y="48170"/>
                  </a:lnTo>
                  <a:lnTo>
                    <a:pt x="140114" y="48580"/>
                  </a:lnTo>
                  <a:lnTo>
                    <a:pt x="133773" y="45818"/>
                  </a:lnTo>
                  <a:lnTo>
                    <a:pt x="133875" y="45818"/>
                  </a:lnTo>
                  <a:lnTo>
                    <a:pt x="132750" y="44898"/>
                  </a:lnTo>
                  <a:lnTo>
                    <a:pt x="133568" y="43670"/>
                  </a:lnTo>
                  <a:lnTo>
                    <a:pt x="133159" y="43057"/>
                  </a:lnTo>
                  <a:lnTo>
                    <a:pt x="133466" y="41932"/>
                  </a:lnTo>
                  <a:lnTo>
                    <a:pt x="132852" y="42136"/>
                  </a:lnTo>
                  <a:lnTo>
                    <a:pt x="132852" y="41830"/>
                  </a:lnTo>
                  <a:lnTo>
                    <a:pt x="132545" y="41727"/>
                  </a:lnTo>
                  <a:lnTo>
                    <a:pt x="132545" y="41625"/>
                  </a:lnTo>
                  <a:lnTo>
                    <a:pt x="130807" y="42136"/>
                  </a:lnTo>
                  <a:lnTo>
                    <a:pt x="130295" y="41830"/>
                  </a:lnTo>
                  <a:lnTo>
                    <a:pt x="122318" y="43977"/>
                  </a:lnTo>
                  <a:lnTo>
                    <a:pt x="121602" y="43670"/>
                  </a:lnTo>
                  <a:lnTo>
                    <a:pt x="120477" y="43875"/>
                  </a:lnTo>
                  <a:lnTo>
                    <a:pt x="119659" y="43057"/>
                  </a:lnTo>
                  <a:lnTo>
                    <a:pt x="115568" y="48477"/>
                  </a:lnTo>
                  <a:lnTo>
                    <a:pt x="115773" y="48784"/>
                  </a:lnTo>
                  <a:lnTo>
                    <a:pt x="114034" y="50932"/>
                  </a:lnTo>
                  <a:lnTo>
                    <a:pt x="112909" y="51239"/>
                  </a:lnTo>
                  <a:lnTo>
                    <a:pt x="109943" y="55739"/>
                  </a:lnTo>
                  <a:lnTo>
                    <a:pt x="109943" y="55739"/>
                  </a:lnTo>
                  <a:lnTo>
                    <a:pt x="110148" y="55534"/>
                  </a:lnTo>
                  <a:lnTo>
                    <a:pt x="110148" y="55534"/>
                  </a:lnTo>
                  <a:lnTo>
                    <a:pt x="108920" y="58602"/>
                  </a:lnTo>
                  <a:lnTo>
                    <a:pt x="109432" y="58807"/>
                  </a:lnTo>
                  <a:lnTo>
                    <a:pt x="109432" y="60034"/>
                  </a:lnTo>
                  <a:lnTo>
                    <a:pt x="109636" y="59932"/>
                  </a:lnTo>
                  <a:lnTo>
                    <a:pt x="109330" y="63716"/>
                  </a:lnTo>
                  <a:lnTo>
                    <a:pt x="108409" y="64841"/>
                  </a:lnTo>
                  <a:lnTo>
                    <a:pt x="109023" y="65659"/>
                  </a:lnTo>
                  <a:lnTo>
                    <a:pt x="109227" y="65557"/>
                  </a:lnTo>
                  <a:lnTo>
                    <a:pt x="109227" y="66170"/>
                  </a:lnTo>
                  <a:lnTo>
                    <a:pt x="110250" y="66170"/>
                  </a:lnTo>
                  <a:lnTo>
                    <a:pt x="109330" y="66375"/>
                  </a:lnTo>
                  <a:lnTo>
                    <a:pt x="109227" y="66273"/>
                  </a:lnTo>
                  <a:lnTo>
                    <a:pt x="109023" y="67091"/>
                  </a:lnTo>
                  <a:lnTo>
                    <a:pt x="109023" y="67091"/>
                  </a:lnTo>
                  <a:lnTo>
                    <a:pt x="109227" y="66989"/>
                  </a:lnTo>
                  <a:lnTo>
                    <a:pt x="109739" y="67909"/>
                  </a:lnTo>
                  <a:lnTo>
                    <a:pt x="110557" y="67705"/>
                  </a:lnTo>
                  <a:lnTo>
                    <a:pt x="110557" y="67705"/>
                  </a:lnTo>
                  <a:lnTo>
                    <a:pt x="110148" y="67909"/>
                  </a:lnTo>
                  <a:lnTo>
                    <a:pt x="110557" y="68114"/>
                  </a:lnTo>
                  <a:lnTo>
                    <a:pt x="110148" y="68318"/>
                  </a:lnTo>
                  <a:lnTo>
                    <a:pt x="110250" y="68318"/>
                  </a:lnTo>
                  <a:lnTo>
                    <a:pt x="110455" y="68523"/>
                  </a:lnTo>
                  <a:lnTo>
                    <a:pt x="110352" y="68727"/>
                  </a:lnTo>
                  <a:lnTo>
                    <a:pt x="110557" y="68625"/>
                  </a:lnTo>
                  <a:lnTo>
                    <a:pt x="110659" y="68932"/>
                  </a:lnTo>
                  <a:lnTo>
                    <a:pt x="110864" y="69034"/>
                  </a:lnTo>
                  <a:lnTo>
                    <a:pt x="110966" y="68932"/>
                  </a:lnTo>
                  <a:lnTo>
                    <a:pt x="111375" y="69648"/>
                  </a:lnTo>
                  <a:lnTo>
                    <a:pt x="111784" y="69852"/>
                  </a:lnTo>
                  <a:lnTo>
                    <a:pt x="111784" y="70261"/>
                  </a:lnTo>
                  <a:lnTo>
                    <a:pt x="112295" y="70875"/>
                  </a:lnTo>
                  <a:lnTo>
                    <a:pt x="112193" y="71182"/>
                  </a:lnTo>
                  <a:lnTo>
                    <a:pt x="112500" y="71182"/>
                  </a:lnTo>
                  <a:lnTo>
                    <a:pt x="112193" y="71284"/>
                  </a:lnTo>
                  <a:lnTo>
                    <a:pt x="117511" y="75477"/>
                  </a:lnTo>
                  <a:lnTo>
                    <a:pt x="119557" y="74761"/>
                  </a:lnTo>
                  <a:lnTo>
                    <a:pt x="119250" y="74761"/>
                  </a:lnTo>
                  <a:lnTo>
                    <a:pt x="120477" y="74659"/>
                  </a:lnTo>
                  <a:lnTo>
                    <a:pt x="119966" y="74659"/>
                  </a:lnTo>
                  <a:lnTo>
                    <a:pt x="121295" y="74557"/>
                  </a:lnTo>
                  <a:lnTo>
                    <a:pt x="121398" y="74761"/>
                  </a:lnTo>
                  <a:lnTo>
                    <a:pt x="127534" y="73227"/>
                  </a:lnTo>
                  <a:lnTo>
                    <a:pt x="127330" y="73432"/>
                  </a:lnTo>
                  <a:lnTo>
                    <a:pt x="129170" y="74455"/>
                  </a:lnTo>
                  <a:lnTo>
                    <a:pt x="129170" y="74761"/>
                  </a:lnTo>
                  <a:lnTo>
                    <a:pt x="129068" y="74761"/>
                  </a:lnTo>
                  <a:lnTo>
                    <a:pt x="129886" y="75477"/>
                  </a:lnTo>
                  <a:lnTo>
                    <a:pt x="130091" y="75477"/>
                  </a:lnTo>
                  <a:lnTo>
                    <a:pt x="130398" y="75580"/>
                  </a:lnTo>
                  <a:lnTo>
                    <a:pt x="130295" y="75170"/>
                  </a:lnTo>
                  <a:lnTo>
                    <a:pt x="130398" y="75477"/>
                  </a:lnTo>
                  <a:lnTo>
                    <a:pt x="130602" y="75170"/>
                  </a:lnTo>
                  <a:lnTo>
                    <a:pt x="131420" y="75375"/>
                  </a:lnTo>
                  <a:lnTo>
                    <a:pt x="131625" y="74966"/>
                  </a:lnTo>
                  <a:lnTo>
                    <a:pt x="132341" y="75784"/>
                  </a:lnTo>
                  <a:lnTo>
                    <a:pt x="132955" y="75886"/>
                  </a:lnTo>
                  <a:lnTo>
                    <a:pt x="132852" y="79466"/>
                  </a:lnTo>
                  <a:lnTo>
                    <a:pt x="132648" y="79568"/>
                  </a:lnTo>
                  <a:lnTo>
                    <a:pt x="133261" y="79875"/>
                  </a:lnTo>
                  <a:lnTo>
                    <a:pt x="133057" y="79977"/>
                  </a:lnTo>
                  <a:lnTo>
                    <a:pt x="132648" y="79670"/>
                  </a:lnTo>
                  <a:lnTo>
                    <a:pt x="132443" y="80591"/>
                  </a:lnTo>
                  <a:lnTo>
                    <a:pt x="132034" y="80693"/>
                  </a:lnTo>
                  <a:lnTo>
                    <a:pt x="132852" y="81716"/>
                  </a:lnTo>
                  <a:lnTo>
                    <a:pt x="132852" y="81716"/>
                  </a:lnTo>
                  <a:lnTo>
                    <a:pt x="132341" y="81409"/>
                  </a:lnTo>
                  <a:lnTo>
                    <a:pt x="132750" y="82023"/>
                  </a:lnTo>
                  <a:lnTo>
                    <a:pt x="132648" y="82023"/>
                  </a:lnTo>
                  <a:lnTo>
                    <a:pt x="133261" y="82636"/>
                  </a:lnTo>
                  <a:lnTo>
                    <a:pt x="132955" y="82534"/>
                  </a:lnTo>
                  <a:lnTo>
                    <a:pt x="135205" y="85909"/>
                  </a:lnTo>
                  <a:lnTo>
                    <a:pt x="136023" y="86114"/>
                  </a:lnTo>
                  <a:lnTo>
                    <a:pt x="135307" y="86318"/>
                  </a:lnTo>
                  <a:lnTo>
                    <a:pt x="135920" y="89284"/>
                  </a:lnTo>
                  <a:lnTo>
                    <a:pt x="136023" y="89182"/>
                  </a:lnTo>
                  <a:lnTo>
                    <a:pt x="136432" y="92557"/>
                  </a:lnTo>
                  <a:lnTo>
                    <a:pt x="134795" y="96648"/>
                  </a:lnTo>
                  <a:lnTo>
                    <a:pt x="137045" y="103602"/>
                  </a:lnTo>
                  <a:lnTo>
                    <a:pt x="136943" y="103602"/>
                  </a:lnTo>
                  <a:lnTo>
                    <a:pt x="140011" y="115364"/>
                  </a:lnTo>
                  <a:lnTo>
                    <a:pt x="146148" y="114955"/>
                  </a:lnTo>
                  <a:lnTo>
                    <a:pt x="146557" y="114648"/>
                  </a:lnTo>
                  <a:lnTo>
                    <a:pt x="147068" y="114648"/>
                  </a:lnTo>
                  <a:lnTo>
                    <a:pt x="152693" y="109125"/>
                  </a:lnTo>
                  <a:lnTo>
                    <a:pt x="153205" y="106977"/>
                  </a:lnTo>
                  <a:lnTo>
                    <a:pt x="153102" y="107080"/>
                  </a:lnTo>
                  <a:lnTo>
                    <a:pt x="153205" y="106875"/>
                  </a:lnTo>
                  <a:lnTo>
                    <a:pt x="153205" y="106977"/>
                  </a:lnTo>
                  <a:lnTo>
                    <a:pt x="155659" y="104523"/>
                  </a:lnTo>
                  <a:lnTo>
                    <a:pt x="155659" y="102784"/>
                  </a:lnTo>
                  <a:lnTo>
                    <a:pt x="155557" y="103091"/>
                  </a:lnTo>
                  <a:lnTo>
                    <a:pt x="155045" y="100330"/>
                  </a:lnTo>
                  <a:lnTo>
                    <a:pt x="160670" y="95932"/>
                  </a:lnTo>
                  <a:lnTo>
                    <a:pt x="160875" y="91125"/>
                  </a:lnTo>
                  <a:lnTo>
                    <a:pt x="160057" y="90307"/>
                  </a:lnTo>
                  <a:lnTo>
                    <a:pt x="159955" y="87136"/>
                  </a:lnTo>
                  <a:lnTo>
                    <a:pt x="159341" y="86523"/>
                  </a:lnTo>
                  <a:lnTo>
                    <a:pt x="161284" y="82125"/>
                  </a:lnTo>
                  <a:lnTo>
                    <a:pt x="161693" y="82023"/>
                  </a:lnTo>
                  <a:lnTo>
                    <a:pt x="170591" y="69341"/>
                  </a:lnTo>
                  <a:lnTo>
                    <a:pt x="170386" y="69136"/>
                  </a:lnTo>
                  <a:lnTo>
                    <a:pt x="170284" y="69341"/>
                  </a:lnTo>
                  <a:lnTo>
                    <a:pt x="170182" y="67807"/>
                  </a:lnTo>
                  <a:lnTo>
                    <a:pt x="164557" y="69341"/>
                  </a:lnTo>
                  <a:lnTo>
                    <a:pt x="162511" y="68114"/>
                  </a:lnTo>
                  <a:lnTo>
                    <a:pt x="163330" y="67602"/>
                  </a:lnTo>
                  <a:lnTo>
                    <a:pt x="162920" y="66784"/>
                  </a:lnTo>
                  <a:lnTo>
                    <a:pt x="162920" y="66886"/>
                  </a:lnTo>
                  <a:lnTo>
                    <a:pt x="159955" y="64125"/>
                  </a:lnTo>
                  <a:lnTo>
                    <a:pt x="159955" y="64534"/>
                  </a:lnTo>
                  <a:lnTo>
                    <a:pt x="157193" y="58295"/>
                  </a:lnTo>
                  <a:lnTo>
                    <a:pt x="157193" y="58295"/>
                  </a:lnTo>
                  <a:lnTo>
                    <a:pt x="157295" y="58398"/>
                  </a:lnTo>
                  <a:lnTo>
                    <a:pt x="156375" y="56761"/>
                  </a:lnTo>
                  <a:lnTo>
                    <a:pt x="155966" y="56557"/>
                  </a:lnTo>
                  <a:lnTo>
                    <a:pt x="155659" y="56148"/>
                  </a:lnTo>
                  <a:lnTo>
                    <a:pt x="155864" y="55432"/>
                  </a:lnTo>
                  <a:lnTo>
                    <a:pt x="152591" y="49193"/>
                  </a:lnTo>
                  <a:lnTo>
                    <a:pt x="152591" y="49193"/>
                  </a:lnTo>
                  <a:lnTo>
                    <a:pt x="153716" y="51136"/>
                  </a:lnTo>
                  <a:lnTo>
                    <a:pt x="154330" y="50830"/>
                  </a:lnTo>
                  <a:lnTo>
                    <a:pt x="154739" y="49602"/>
                  </a:lnTo>
                  <a:lnTo>
                    <a:pt x="154534" y="51136"/>
                  </a:lnTo>
                  <a:lnTo>
                    <a:pt x="158727" y="56557"/>
                  </a:lnTo>
                  <a:lnTo>
                    <a:pt x="158625" y="56557"/>
                  </a:lnTo>
                  <a:lnTo>
                    <a:pt x="162614" y="64330"/>
                  </a:lnTo>
                  <a:lnTo>
                    <a:pt x="162511" y="64227"/>
                  </a:lnTo>
                  <a:lnTo>
                    <a:pt x="162511" y="64227"/>
                  </a:lnTo>
                  <a:lnTo>
                    <a:pt x="163330" y="66989"/>
                  </a:lnTo>
                  <a:lnTo>
                    <a:pt x="171102" y="63818"/>
                  </a:lnTo>
                  <a:lnTo>
                    <a:pt x="171102" y="63409"/>
                  </a:lnTo>
                  <a:lnTo>
                    <a:pt x="173557" y="62489"/>
                  </a:lnTo>
                  <a:lnTo>
                    <a:pt x="173659" y="61977"/>
                  </a:lnTo>
                  <a:lnTo>
                    <a:pt x="174580" y="61568"/>
                  </a:lnTo>
                  <a:lnTo>
                    <a:pt x="174989" y="60750"/>
                  </a:lnTo>
                  <a:lnTo>
                    <a:pt x="175807" y="60443"/>
                  </a:lnTo>
                  <a:lnTo>
                    <a:pt x="175705" y="59625"/>
                  </a:lnTo>
                  <a:lnTo>
                    <a:pt x="176114" y="58807"/>
                  </a:lnTo>
                  <a:lnTo>
                    <a:pt x="176216" y="59114"/>
                  </a:lnTo>
                  <a:lnTo>
                    <a:pt x="177341" y="57170"/>
                  </a:lnTo>
                  <a:lnTo>
                    <a:pt x="174273" y="54920"/>
                  </a:lnTo>
                  <a:lnTo>
                    <a:pt x="173864" y="52977"/>
                  </a:lnTo>
                  <a:lnTo>
                    <a:pt x="172330" y="55023"/>
                  </a:lnTo>
                  <a:lnTo>
                    <a:pt x="170080" y="55330"/>
                  </a:lnTo>
                  <a:lnTo>
                    <a:pt x="169875" y="55023"/>
                  </a:lnTo>
                  <a:lnTo>
                    <a:pt x="169568" y="55023"/>
                  </a:lnTo>
                  <a:lnTo>
                    <a:pt x="169670" y="54818"/>
                  </a:lnTo>
                  <a:lnTo>
                    <a:pt x="169466" y="54716"/>
                  </a:lnTo>
                  <a:lnTo>
                    <a:pt x="169670" y="54000"/>
                  </a:lnTo>
                  <a:lnTo>
                    <a:pt x="169466" y="53284"/>
                  </a:lnTo>
                  <a:lnTo>
                    <a:pt x="169057" y="53795"/>
                  </a:lnTo>
                  <a:lnTo>
                    <a:pt x="169057" y="54511"/>
                  </a:lnTo>
                  <a:lnTo>
                    <a:pt x="168239" y="53182"/>
                  </a:lnTo>
                  <a:lnTo>
                    <a:pt x="168341" y="53182"/>
                  </a:lnTo>
                  <a:lnTo>
                    <a:pt x="168239" y="52568"/>
                  </a:lnTo>
                  <a:lnTo>
                    <a:pt x="168341" y="52568"/>
                  </a:lnTo>
                  <a:lnTo>
                    <a:pt x="165886" y="49807"/>
                  </a:lnTo>
                  <a:lnTo>
                    <a:pt x="166193" y="49602"/>
                  </a:lnTo>
                  <a:lnTo>
                    <a:pt x="165989" y="49193"/>
                  </a:lnTo>
                  <a:lnTo>
                    <a:pt x="166398" y="49295"/>
                  </a:lnTo>
                  <a:lnTo>
                    <a:pt x="166807" y="48682"/>
                  </a:lnTo>
                  <a:lnTo>
                    <a:pt x="166807" y="48784"/>
                  </a:lnTo>
                  <a:lnTo>
                    <a:pt x="171409" y="52568"/>
                  </a:lnTo>
                  <a:lnTo>
                    <a:pt x="172943" y="52466"/>
                  </a:lnTo>
                  <a:lnTo>
                    <a:pt x="173557" y="52057"/>
                  </a:lnTo>
                  <a:lnTo>
                    <a:pt x="174273" y="52364"/>
                  </a:lnTo>
                  <a:lnTo>
                    <a:pt x="174580" y="53182"/>
                  </a:lnTo>
                  <a:lnTo>
                    <a:pt x="177545" y="54000"/>
                  </a:lnTo>
                  <a:lnTo>
                    <a:pt x="177648" y="53898"/>
                  </a:lnTo>
                  <a:lnTo>
                    <a:pt x="177750" y="54000"/>
                  </a:lnTo>
                  <a:lnTo>
                    <a:pt x="182761" y="53898"/>
                  </a:lnTo>
                  <a:lnTo>
                    <a:pt x="182557" y="53795"/>
                  </a:lnTo>
                  <a:lnTo>
                    <a:pt x="182557" y="53795"/>
                  </a:lnTo>
                  <a:lnTo>
                    <a:pt x="182864" y="53898"/>
                  </a:lnTo>
                  <a:lnTo>
                    <a:pt x="182966" y="53898"/>
                  </a:lnTo>
                  <a:lnTo>
                    <a:pt x="184091" y="55432"/>
                  </a:lnTo>
                  <a:lnTo>
                    <a:pt x="184500" y="55636"/>
                  </a:lnTo>
                  <a:lnTo>
                    <a:pt x="184500" y="55534"/>
                  </a:lnTo>
                  <a:lnTo>
                    <a:pt x="185114" y="55534"/>
                  </a:lnTo>
                  <a:lnTo>
                    <a:pt x="184909" y="56045"/>
                  </a:lnTo>
                  <a:lnTo>
                    <a:pt x="185727" y="56557"/>
                  </a:lnTo>
                  <a:lnTo>
                    <a:pt x="186750" y="56250"/>
                  </a:lnTo>
                  <a:lnTo>
                    <a:pt x="185727" y="57068"/>
                  </a:lnTo>
                  <a:lnTo>
                    <a:pt x="185420" y="57068"/>
                  </a:lnTo>
                  <a:lnTo>
                    <a:pt x="187568" y="58602"/>
                  </a:lnTo>
                  <a:lnTo>
                    <a:pt x="188386" y="58193"/>
                  </a:lnTo>
                  <a:lnTo>
                    <a:pt x="188284" y="57170"/>
                  </a:lnTo>
                  <a:lnTo>
                    <a:pt x="188898" y="57170"/>
                  </a:lnTo>
                  <a:lnTo>
                    <a:pt x="188693" y="57682"/>
                  </a:lnTo>
                  <a:lnTo>
                    <a:pt x="189205" y="57682"/>
                  </a:lnTo>
                  <a:lnTo>
                    <a:pt x="188795" y="57989"/>
                  </a:lnTo>
                  <a:lnTo>
                    <a:pt x="188898" y="57989"/>
                  </a:lnTo>
                  <a:lnTo>
                    <a:pt x="189307" y="60239"/>
                  </a:lnTo>
                  <a:lnTo>
                    <a:pt x="189205" y="60239"/>
                  </a:lnTo>
                  <a:lnTo>
                    <a:pt x="189205" y="60545"/>
                  </a:lnTo>
                  <a:lnTo>
                    <a:pt x="189307" y="60341"/>
                  </a:lnTo>
                  <a:lnTo>
                    <a:pt x="190636" y="64227"/>
                  </a:lnTo>
                  <a:lnTo>
                    <a:pt x="190534" y="64227"/>
                  </a:lnTo>
                  <a:lnTo>
                    <a:pt x="193160" y="69965"/>
                  </a:lnTo>
                  <a:lnTo>
                    <a:pt x="194216" y="71693"/>
                  </a:lnTo>
                  <a:lnTo>
                    <a:pt x="195955" y="70568"/>
                  </a:lnTo>
                  <a:lnTo>
                    <a:pt x="195545" y="70261"/>
                  </a:lnTo>
                  <a:lnTo>
                    <a:pt x="195852" y="69443"/>
                  </a:lnTo>
                  <a:lnTo>
                    <a:pt x="196364" y="69239"/>
                  </a:lnTo>
                  <a:lnTo>
                    <a:pt x="196568" y="66375"/>
                  </a:lnTo>
                  <a:lnTo>
                    <a:pt x="196466" y="66170"/>
                  </a:lnTo>
                  <a:lnTo>
                    <a:pt x="196261" y="63920"/>
                  </a:lnTo>
                  <a:lnTo>
                    <a:pt x="196875" y="63818"/>
                  </a:lnTo>
                  <a:lnTo>
                    <a:pt x="200455" y="59830"/>
                  </a:lnTo>
                  <a:lnTo>
                    <a:pt x="200250" y="59932"/>
                  </a:lnTo>
                  <a:lnTo>
                    <a:pt x="200250" y="59932"/>
                  </a:lnTo>
                  <a:lnTo>
                    <a:pt x="201580" y="58705"/>
                  </a:lnTo>
                  <a:lnTo>
                    <a:pt x="201477" y="58091"/>
                  </a:lnTo>
                  <a:lnTo>
                    <a:pt x="202398" y="57580"/>
                  </a:lnTo>
                  <a:lnTo>
                    <a:pt x="202295" y="57068"/>
                  </a:lnTo>
                  <a:lnTo>
                    <a:pt x="202500" y="57580"/>
                  </a:lnTo>
                  <a:lnTo>
                    <a:pt x="202705" y="57682"/>
                  </a:lnTo>
                  <a:lnTo>
                    <a:pt x="202909" y="57273"/>
                  </a:lnTo>
                  <a:lnTo>
                    <a:pt x="203114" y="57886"/>
                  </a:lnTo>
                  <a:lnTo>
                    <a:pt x="203216" y="57682"/>
                  </a:lnTo>
                  <a:lnTo>
                    <a:pt x="203420" y="57784"/>
                  </a:lnTo>
                  <a:lnTo>
                    <a:pt x="203420" y="57784"/>
                  </a:lnTo>
                  <a:lnTo>
                    <a:pt x="203216" y="57477"/>
                  </a:lnTo>
                  <a:lnTo>
                    <a:pt x="203318" y="57273"/>
                  </a:lnTo>
                  <a:lnTo>
                    <a:pt x="203625" y="57682"/>
                  </a:lnTo>
                  <a:lnTo>
                    <a:pt x="203625" y="57170"/>
                  </a:lnTo>
                  <a:lnTo>
                    <a:pt x="203830" y="57682"/>
                  </a:lnTo>
                  <a:lnTo>
                    <a:pt x="204136" y="56966"/>
                  </a:lnTo>
                  <a:lnTo>
                    <a:pt x="204136" y="57375"/>
                  </a:lnTo>
                  <a:lnTo>
                    <a:pt x="204341" y="57273"/>
                  </a:lnTo>
                  <a:lnTo>
                    <a:pt x="204341" y="57580"/>
                  </a:lnTo>
                  <a:lnTo>
                    <a:pt x="204648" y="57170"/>
                  </a:lnTo>
                  <a:lnTo>
                    <a:pt x="204545" y="56250"/>
                  </a:lnTo>
                  <a:lnTo>
                    <a:pt x="204239" y="55943"/>
                  </a:lnTo>
                  <a:lnTo>
                    <a:pt x="204443" y="55943"/>
                  </a:lnTo>
                  <a:lnTo>
                    <a:pt x="204443" y="55739"/>
                  </a:lnTo>
                  <a:lnTo>
                    <a:pt x="205773" y="57068"/>
                  </a:lnTo>
                  <a:lnTo>
                    <a:pt x="206795" y="59216"/>
                  </a:lnTo>
                  <a:lnTo>
                    <a:pt x="206795" y="58909"/>
                  </a:lnTo>
                  <a:lnTo>
                    <a:pt x="207102" y="59011"/>
                  </a:lnTo>
                  <a:lnTo>
                    <a:pt x="207307" y="59625"/>
                  </a:lnTo>
                  <a:lnTo>
                    <a:pt x="207307" y="59420"/>
                  </a:lnTo>
                  <a:lnTo>
                    <a:pt x="207818" y="59523"/>
                  </a:lnTo>
                  <a:lnTo>
                    <a:pt x="208125" y="60136"/>
                  </a:lnTo>
                  <a:lnTo>
                    <a:pt x="207716" y="60136"/>
                  </a:lnTo>
                  <a:lnTo>
                    <a:pt x="208125" y="60648"/>
                  </a:lnTo>
                  <a:lnTo>
                    <a:pt x="208125" y="60239"/>
                  </a:lnTo>
                  <a:lnTo>
                    <a:pt x="208432" y="60750"/>
                  </a:lnTo>
                  <a:lnTo>
                    <a:pt x="208330" y="60750"/>
                  </a:lnTo>
                  <a:lnTo>
                    <a:pt x="208739" y="63614"/>
                  </a:lnTo>
                  <a:lnTo>
                    <a:pt x="209148" y="63102"/>
                  </a:lnTo>
                  <a:lnTo>
                    <a:pt x="209148" y="63716"/>
                  </a:lnTo>
                  <a:lnTo>
                    <a:pt x="209352" y="63409"/>
                  </a:lnTo>
                  <a:lnTo>
                    <a:pt x="210170" y="63409"/>
                  </a:lnTo>
                  <a:lnTo>
                    <a:pt x="210477" y="63205"/>
                  </a:lnTo>
                  <a:lnTo>
                    <a:pt x="210477" y="62795"/>
                  </a:lnTo>
                  <a:lnTo>
                    <a:pt x="210886" y="62898"/>
                  </a:lnTo>
                  <a:lnTo>
                    <a:pt x="210989" y="62182"/>
                  </a:lnTo>
                  <a:lnTo>
                    <a:pt x="211807" y="63000"/>
                  </a:lnTo>
                  <a:lnTo>
                    <a:pt x="212318" y="64943"/>
                  </a:lnTo>
                  <a:lnTo>
                    <a:pt x="212216" y="64943"/>
                  </a:lnTo>
                  <a:lnTo>
                    <a:pt x="212523" y="65966"/>
                  </a:lnTo>
                  <a:lnTo>
                    <a:pt x="212625" y="65659"/>
                  </a:lnTo>
                  <a:lnTo>
                    <a:pt x="213239" y="69750"/>
                  </a:lnTo>
                  <a:lnTo>
                    <a:pt x="213341" y="69545"/>
                  </a:lnTo>
                  <a:lnTo>
                    <a:pt x="213136" y="71386"/>
                  </a:lnTo>
                  <a:lnTo>
                    <a:pt x="218045" y="78545"/>
                  </a:lnTo>
                  <a:lnTo>
                    <a:pt x="218455" y="78545"/>
                  </a:lnTo>
                  <a:lnTo>
                    <a:pt x="218557" y="78341"/>
                  </a:lnTo>
                  <a:lnTo>
                    <a:pt x="218864" y="78341"/>
                  </a:lnTo>
                  <a:lnTo>
                    <a:pt x="217739" y="74659"/>
                  </a:lnTo>
                  <a:lnTo>
                    <a:pt x="215182" y="72307"/>
                  </a:lnTo>
                  <a:lnTo>
                    <a:pt x="215284" y="72614"/>
                  </a:lnTo>
                  <a:lnTo>
                    <a:pt x="214875" y="72102"/>
                  </a:lnTo>
                  <a:lnTo>
                    <a:pt x="215182" y="72307"/>
                  </a:lnTo>
                  <a:lnTo>
                    <a:pt x="214875" y="71284"/>
                  </a:lnTo>
                  <a:lnTo>
                    <a:pt x="214773" y="71386"/>
                  </a:lnTo>
                  <a:lnTo>
                    <a:pt x="213852" y="69852"/>
                  </a:lnTo>
                  <a:lnTo>
                    <a:pt x="214364" y="66580"/>
                  </a:lnTo>
                  <a:lnTo>
                    <a:pt x="214261" y="66375"/>
                  </a:lnTo>
                  <a:lnTo>
                    <a:pt x="215080" y="66273"/>
                  </a:lnTo>
                  <a:lnTo>
                    <a:pt x="215080" y="66784"/>
                  </a:lnTo>
                  <a:lnTo>
                    <a:pt x="216409" y="67398"/>
                  </a:lnTo>
                  <a:lnTo>
                    <a:pt x="216409" y="67295"/>
                  </a:lnTo>
                  <a:lnTo>
                    <a:pt x="216716" y="67602"/>
                  </a:lnTo>
                  <a:lnTo>
                    <a:pt x="216716" y="67500"/>
                  </a:lnTo>
                  <a:lnTo>
                    <a:pt x="217023" y="68011"/>
                  </a:lnTo>
                  <a:lnTo>
                    <a:pt x="217125" y="67909"/>
                  </a:lnTo>
                  <a:lnTo>
                    <a:pt x="217330" y="68625"/>
                  </a:lnTo>
                  <a:lnTo>
                    <a:pt x="217636" y="68625"/>
                  </a:lnTo>
                  <a:lnTo>
                    <a:pt x="217739" y="69034"/>
                  </a:lnTo>
                  <a:lnTo>
                    <a:pt x="219068" y="69648"/>
                  </a:lnTo>
                  <a:lnTo>
                    <a:pt x="218966" y="71182"/>
                  </a:lnTo>
                  <a:lnTo>
                    <a:pt x="218966" y="71182"/>
                  </a:lnTo>
                  <a:lnTo>
                    <a:pt x="219886" y="70568"/>
                  </a:lnTo>
                  <a:lnTo>
                    <a:pt x="219886" y="69750"/>
                  </a:lnTo>
                  <a:lnTo>
                    <a:pt x="220500" y="70159"/>
                  </a:lnTo>
                  <a:lnTo>
                    <a:pt x="220091" y="69545"/>
                  </a:lnTo>
                  <a:lnTo>
                    <a:pt x="220602" y="69852"/>
                  </a:lnTo>
                  <a:lnTo>
                    <a:pt x="220398" y="69443"/>
                  </a:lnTo>
                  <a:lnTo>
                    <a:pt x="222545" y="68318"/>
                  </a:lnTo>
                  <a:lnTo>
                    <a:pt x="222737" y="67743"/>
                  </a:lnTo>
                  <a:lnTo>
                    <a:pt x="222648" y="67295"/>
                  </a:lnTo>
                  <a:lnTo>
                    <a:pt x="222750" y="67295"/>
                  </a:lnTo>
                  <a:lnTo>
                    <a:pt x="222750" y="66886"/>
                  </a:lnTo>
                  <a:lnTo>
                    <a:pt x="222852" y="67091"/>
                  </a:lnTo>
                  <a:lnTo>
                    <a:pt x="222545" y="65864"/>
                  </a:lnTo>
                  <a:lnTo>
                    <a:pt x="219375" y="61773"/>
                  </a:lnTo>
                  <a:lnTo>
                    <a:pt x="219477" y="61773"/>
                  </a:lnTo>
                  <a:lnTo>
                    <a:pt x="218659" y="60239"/>
                  </a:lnTo>
                  <a:lnTo>
                    <a:pt x="219170" y="58398"/>
                  </a:lnTo>
                  <a:lnTo>
                    <a:pt x="219682" y="58500"/>
                  </a:lnTo>
                  <a:lnTo>
                    <a:pt x="220602" y="57477"/>
                  </a:lnTo>
                  <a:lnTo>
                    <a:pt x="221216" y="57989"/>
                  </a:lnTo>
                  <a:lnTo>
                    <a:pt x="221625" y="57682"/>
                  </a:lnTo>
                  <a:lnTo>
                    <a:pt x="221830" y="57886"/>
                  </a:lnTo>
                  <a:lnTo>
                    <a:pt x="221830" y="58500"/>
                  </a:lnTo>
                  <a:lnTo>
                    <a:pt x="222239" y="59011"/>
                  </a:lnTo>
                  <a:lnTo>
                    <a:pt x="222136" y="59011"/>
                  </a:lnTo>
                  <a:lnTo>
                    <a:pt x="222545" y="59114"/>
                  </a:lnTo>
                  <a:lnTo>
                    <a:pt x="222239" y="58500"/>
                  </a:lnTo>
                  <a:lnTo>
                    <a:pt x="222443" y="58091"/>
                  </a:lnTo>
                  <a:lnTo>
                    <a:pt x="224080" y="57477"/>
                  </a:lnTo>
                  <a:lnTo>
                    <a:pt x="224591" y="57477"/>
                  </a:lnTo>
                  <a:lnTo>
                    <a:pt x="224693" y="57170"/>
                  </a:lnTo>
                  <a:lnTo>
                    <a:pt x="225102" y="57068"/>
                  </a:lnTo>
                  <a:lnTo>
                    <a:pt x="224795" y="56455"/>
                  </a:lnTo>
                  <a:lnTo>
                    <a:pt x="225000" y="56250"/>
                  </a:lnTo>
                  <a:lnTo>
                    <a:pt x="225716" y="57068"/>
                  </a:lnTo>
                  <a:lnTo>
                    <a:pt x="226023" y="56659"/>
                  </a:lnTo>
                  <a:lnTo>
                    <a:pt x="226125" y="56761"/>
                  </a:lnTo>
                  <a:lnTo>
                    <a:pt x="226534" y="56659"/>
                  </a:lnTo>
                  <a:lnTo>
                    <a:pt x="226739" y="56659"/>
                  </a:lnTo>
                  <a:lnTo>
                    <a:pt x="226739" y="56557"/>
                  </a:lnTo>
                  <a:lnTo>
                    <a:pt x="227352" y="56455"/>
                  </a:lnTo>
                  <a:lnTo>
                    <a:pt x="227761" y="55739"/>
                  </a:lnTo>
                  <a:lnTo>
                    <a:pt x="228170" y="55739"/>
                  </a:lnTo>
                  <a:lnTo>
                    <a:pt x="228375" y="55534"/>
                  </a:lnTo>
                  <a:lnTo>
                    <a:pt x="228477" y="54920"/>
                  </a:lnTo>
                  <a:lnTo>
                    <a:pt x="229807" y="54000"/>
                  </a:lnTo>
                  <a:lnTo>
                    <a:pt x="229705" y="53386"/>
                  </a:lnTo>
                  <a:lnTo>
                    <a:pt x="229193" y="53182"/>
                  </a:lnTo>
                  <a:lnTo>
                    <a:pt x="229807" y="52977"/>
                  </a:lnTo>
                  <a:lnTo>
                    <a:pt x="229398" y="52466"/>
                  </a:lnTo>
                  <a:lnTo>
                    <a:pt x="229602" y="52466"/>
                  </a:lnTo>
                  <a:lnTo>
                    <a:pt x="229807" y="52670"/>
                  </a:lnTo>
                  <a:lnTo>
                    <a:pt x="230318" y="50932"/>
                  </a:lnTo>
                  <a:lnTo>
                    <a:pt x="230727" y="50932"/>
                  </a:lnTo>
                  <a:lnTo>
                    <a:pt x="230523" y="50318"/>
                  </a:lnTo>
                  <a:lnTo>
                    <a:pt x="230625" y="50318"/>
                  </a:lnTo>
                  <a:lnTo>
                    <a:pt x="230318" y="50114"/>
                  </a:lnTo>
                  <a:lnTo>
                    <a:pt x="230727" y="50114"/>
                  </a:lnTo>
                  <a:lnTo>
                    <a:pt x="230625" y="49602"/>
                  </a:lnTo>
                  <a:lnTo>
                    <a:pt x="230318" y="49705"/>
                  </a:lnTo>
                  <a:lnTo>
                    <a:pt x="230625" y="49295"/>
                  </a:lnTo>
                  <a:lnTo>
                    <a:pt x="229807" y="48886"/>
                  </a:lnTo>
                  <a:lnTo>
                    <a:pt x="229295" y="49091"/>
                  </a:lnTo>
                  <a:lnTo>
                    <a:pt x="228886" y="48989"/>
                  </a:lnTo>
                  <a:lnTo>
                    <a:pt x="230011" y="48273"/>
                  </a:lnTo>
                  <a:lnTo>
                    <a:pt x="229909" y="47966"/>
                  </a:lnTo>
                  <a:lnTo>
                    <a:pt x="228682" y="47148"/>
                  </a:lnTo>
                  <a:lnTo>
                    <a:pt x="228170" y="47250"/>
                  </a:lnTo>
                  <a:lnTo>
                    <a:pt x="228477" y="47045"/>
                  </a:lnTo>
                  <a:lnTo>
                    <a:pt x="229807" y="47455"/>
                  </a:lnTo>
                  <a:lnTo>
                    <a:pt x="226227" y="44080"/>
                  </a:lnTo>
                  <a:lnTo>
                    <a:pt x="226739" y="43057"/>
                  </a:lnTo>
                  <a:lnTo>
                    <a:pt x="226534" y="42750"/>
                  </a:lnTo>
                  <a:lnTo>
                    <a:pt x="226534" y="42750"/>
                  </a:lnTo>
                  <a:lnTo>
                    <a:pt x="226739" y="42955"/>
                  </a:lnTo>
                  <a:lnTo>
                    <a:pt x="227045" y="42545"/>
                  </a:lnTo>
                  <a:lnTo>
                    <a:pt x="226943" y="42341"/>
                  </a:lnTo>
                  <a:lnTo>
                    <a:pt x="228170" y="41932"/>
                  </a:lnTo>
                  <a:lnTo>
                    <a:pt x="228170" y="41523"/>
                  </a:lnTo>
                  <a:lnTo>
                    <a:pt x="225920" y="41216"/>
                  </a:lnTo>
                  <a:lnTo>
                    <a:pt x="225511" y="41830"/>
                  </a:lnTo>
                  <a:lnTo>
                    <a:pt x="225000" y="41625"/>
                  </a:lnTo>
                  <a:lnTo>
                    <a:pt x="224898" y="41216"/>
                  </a:lnTo>
                  <a:lnTo>
                    <a:pt x="223159" y="39989"/>
                  </a:lnTo>
                  <a:lnTo>
                    <a:pt x="224182" y="39580"/>
                  </a:lnTo>
                  <a:lnTo>
                    <a:pt x="224284" y="38966"/>
                  </a:lnTo>
                  <a:lnTo>
                    <a:pt x="224898" y="38659"/>
                  </a:lnTo>
                  <a:lnTo>
                    <a:pt x="225000" y="38250"/>
                  </a:lnTo>
                  <a:lnTo>
                    <a:pt x="225614" y="37943"/>
                  </a:lnTo>
                  <a:lnTo>
                    <a:pt x="226227" y="38557"/>
                  </a:lnTo>
                  <a:lnTo>
                    <a:pt x="226023" y="39477"/>
                  </a:lnTo>
                  <a:lnTo>
                    <a:pt x="226432" y="39477"/>
                  </a:lnTo>
                  <a:lnTo>
                    <a:pt x="226432" y="39784"/>
                  </a:lnTo>
                  <a:lnTo>
                    <a:pt x="226125" y="39989"/>
                  </a:lnTo>
                  <a:lnTo>
                    <a:pt x="226534" y="39989"/>
                  </a:lnTo>
                  <a:lnTo>
                    <a:pt x="226636" y="39886"/>
                  </a:lnTo>
                  <a:lnTo>
                    <a:pt x="228273" y="38864"/>
                  </a:lnTo>
                  <a:lnTo>
                    <a:pt x="228682" y="39273"/>
                  </a:lnTo>
                  <a:lnTo>
                    <a:pt x="228784" y="39068"/>
                  </a:lnTo>
                  <a:lnTo>
                    <a:pt x="229500" y="39580"/>
                  </a:lnTo>
                  <a:lnTo>
                    <a:pt x="229602" y="40091"/>
                  </a:lnTo>
                  <a:lnTo>
                    <a:pt x="229909" y="40193"/>
                  </a:lnTo>
                  <a:lnTo>
                    <a:pt x="229500" y="40807"/>
                  </a:lnTo>
                  <a:lnTo>
                    <a:pt x="230011" y="40807"/>
                  </a:lnTo>
                  <a:lnTo>
                    <a:pt x="229807" y="41011"/>
                  </a:lnTo>
                  <a:lnTo>
                    <a:pt x="230114" y="41114"/>
                  </a:lnTo>
                  <a:lnTo>
                    <a:pt x="230216" y="41216"/>
                  </a:lnTo>
                  <a:lnTo>
                    <a:pt x="230420" y="41114"/>
                  </a:lnTo>
                  <a:lnTo>
                    <a:pt x="230523" y="40909"/>
                  </a:lnTo>
                  <a:lnTo>
                    <a:pt x="231955" y="42136"/>
                  </a:lnTo>
                  <a:lnTo>
                    <a:pt x="231341" y="42136"/>
                  </a:lnTo>
                  <a:lnTo>
                    <a:pt x="232670" y="44182"/>
                  </a:lnTo>
                  <a:lnTo>
                    <a:pt x="232568" y="44284"/>
                  </a:lnTo>
                  <a:lnTo>
                    <a:pt x="232670" y="44386"/>
                  </a:lnTo>
                  <a:lnTo>
                    <a:pt x="232466" y="44386"/>
                  </a:lnTo>
                  <a:lnTo>
                    <a:pt x="232875" y="44795"/>
                  </a:lnTo>
                  <a:lnTo>
                    <a:pt x="233080" y="44591"/>
                  </a:lnTo>
                  <a:lnTo>
                    <a:pt x="233182" y="44284"/>
                  </a:lnTo>
                  <a:lnTo>
                    <a:pt x="233489" y="44489"/>
                  </a:lnTo>
                  <a:lnTo>
                    <a:pt x="233386" y="44284"/>
                  </a:lnTo>
                  <a:lnTo>
                    <a:pt x="233591" y="44284"/>
                  </a:lnTo>
                  <a:lnTo>
                    <a:pt x="233693" y="44080"/>
                  </a:lnTo>
                  <a:lnTo>
                    <a:pt x="234205" y="44182"/>
                  </a:lnTo>
                  <a:lnTo>
                    <a:pt x="234614" y="43875"/>
                  </a:lnTo>
                  <a:lnTo>
                    <a:pt x="234614" y="42955"/>
                  </a:lnTo>
                  <a:lnTo>
                    <a:pt x="231034" y="39170"/>
                  </a:lnTo>
                  <a:lnTo>
                    <a:pt x="232261" y="38045"/>
                  </a:lnTo>
                  <a:lnTo>
                    <a:pt x="232057" y="36205"/>
                  </a:lnTo>
                  <a:lnTo>
                    <a:pt x="232057" y="36205"/>
                  </a:lnTo>
                  <a:lnTo>
                    <a:pt x="232364" y="36307"/>
                  </a:lnTo>
                  <a:lnTo>
                    <a:pt x="232670" y="35591"/>
                  </a:lnTo>
                  <a:lnTo>
                    <a:pt x="232977" y="35591"/>
                  </a:lnTo>
                  <a:lnTo>
                    <a:pt x="234102" y="36102"/>
                  </a:lnTo>
                  <a:lnTo>
                    <a:pt x="235739" y="30273"/>
                  </a:lnTo>
                  <a:lnTo>
                    <a:pt x="232670" y="25773"/>
                  </a:lnTo>
                  <a:lnTo>
                    <a:pt x="232670" y="25466"/>
                  </a:lnTo>
                  <a:lnTo>
                    <a:pt x="229909" y="24545"/>
                  </a:lnTo>
                  <a:lnTo>
                    <a:pt x="230420" y="25159"/>
                  </a:lnTo>
                  <a:lnTo>
                    <a:pt x="230318" y="25364"/>
                  </a:lnTo>
                  <a:lnTo>
                    <a:pt x="230114" y="24955"/>
                  </a:lnTo>
                  <a:lnTo>
                    <a:pt x="230114" y="25159"/>
                  </a:lnTo>
                  <a:lnTo>
                    <a:pt x="229500" y="25261"/>
                  </a:lnTo>
                  <a:lnTo>
                    <a:pt x="229602" y="24955"/>
                  </a:lnTo>
                  <a:lnTo>
                    <a:pt x="228886" y="24648"/>
                  </a:lnTo>
                  <a:lnTo>
                    <a:pt x="229193" y="25057"/>
                  </a:lnTo>
                  <a:lnTo>
                    <a:pt x="226841" y="23830"/>
                  </a:lnTo>
                  <a:lnTo>
                    <a:pt x="228068" y="21068"/>
                  </a:lnTo>
                  <a:lnTo>
                    <a:pt x="227864" y="20761"/>
                  </a:lnTo>
                  <a:lnTo>
                    <a:pt x="228170" y="20455"/>
                  </a:lnTo>
                  <a:lnTo>
                    <a:pt x="228170" y="20045"/>
                  </a:lnTo>
                  <a:lnTo>
                    <a:pt x="231034" y="19841"/>
                  </a:lnTo>
                  <a:lnTo>
                    <a:pt x="231034" y="19636"/>
                  </a:lnTo>
                  <a:lnTo>
                    <a:pt x="232875" y="19841"/>
                  </a:lnTo>
                  <a:lnTo>
                    <a:pt x="232568" y="19534"/>
                  </a:lnTo>
                  <a:lnTo>
                    <a:pt x="232875" y="19636"/>
                  </a:lnTo>
                  <a:lnTo>
                    <a:pt x="232670" y="19432"/>
                  </a:lnTo>
                  <a:lnTo>
                    <a:pt x="233898" y="19534"/>
                  </a:lnTo>
                  <a:lnTo>
                    <a:pt x="233795" y="19636"/>
                  </a:lnTo>
                  <a:lnTo>
                    <a:pt x="235432" y="19841"/>
                  </a:lnTo>
                  <a:lnTo>
                    <a:pt x="234716" y="19943"/>
                  </a:lnTo>
                  <a:lnTo>
                    <a:pt x="236250" y="19943"/>
                  </a:lnTo>
                  <a:lnTo>
                    <a:pt x="236250" y="19841"/>
                  </a:lnTo>
                  <a:lnTo>
                    <a:pt x="236966" y="19943"/>
                  </a:lnTo>
                  <a:lnTo>
                    <a:pt x="237068" y="19841"/>
                  </a:lnTo>
                  <a:lnTo>
                    <a:pt x="237580" y="19841"/>
                  </a:lnTo>
                  <a:lnTo>
                    <a:pt x="236557" y="19636"/>
                  </a:lnTo>
                  <a:lnTo>
                    <a:pt x="236148" y="18818"/>
                  </a:lnTo>
                  <a:lnTo>
                    <a:pt x="236352" y="17489"/>
                  </a:lnTo>
                  <a:lnTo>
                    <a:pt x="238602" y="17693"/>
                  </a:lnTo>
                  <a:lnTo>
                    <a:pt x="239011" y="18205"/>
                  </a:lnTo>
                  <a:lnTo>
                    <a:pt x="239216" y="18102"/>
                  </a:lnTo>
                  <a:lnTo>
                    <a:pt x="239625" y="18511"/>
                  </a:lnTo>
                  <a:lnTo>
                    <a:pt x="239932" y="18409"/>
                  </a:lnTo>
                  <a:lnTo>
                    <a:pt x="240341" y="17591"/>
                  </a:lnTo>
                  <a:lnTo>
                    <a:pt x="240239" y="17489"/>
                  </a:lnTo>
                  <a:lnTo>
                    <a:pt x="240648" y="17693"/>
                  </a:lnTo>
                  <a:lnTo>
                    <a:pt x="239727" y="16773"/>
                  </a:lnTo>
                  <a:lnTo>
                    <a:pt x="241364" y="16875"/>
                  </a:lnTo>
                  <a:lnTo>
                    <a:pt x="240648" y="16875"/>
                  </a:lnTo>
                  <a:lnTo>
                    <a:pt x="241875" y="18307"/>
                  </a:lnTo>
                  <a:lnTo>
                    <a:pt x="241261" y="18614"/>
                  </a:lnTo>
                  <a:lnTo>
                    <a:pt x="241261" y="19432"/>
                  </a:lnTo>
                  <a:lnTo>
                    <a:pt x="241159" y="19534"/>
                  </a:lnTo>
                  <a:lnTo>
                    <a:pt x="241057" y="20966"/>
                  </a:lnTo>
                  <a:lnTo>
                    <a:pt x="240648" y="20966"/>
                  </a:lnTo>
                  <a:lnTo>
                    <a:pt x="240750" y="21170"/>
                  </a:lnTo>
                  <a:lnTo>
                    <a:pt x="240443" y="21273"/>
                  </a:lnTo>
                  <a:lnTo>
                    <a:pt x="240852" y="21784"/>
                  </a:lnTo>
                  <a:lnTo>
                    <a:pt x="240852" y="22398"/>
                  </a:lnTo>
                  <a:lnTo>
                    <a:pt x="246784" y="27716"/>
                  </a:lnTo>
                  <a:lnTo>
                    <a:pt x="247091" y="26898"/>
                  </a:lnTo>
                  <a:lnTo>
                    <a:pt x="246273" y="25773"/>
                  </a:lnTo>
                  <a:lnTo>
                    <a:pt x="246273" y="25773"/>
                  </a:lnTo>
                  <a:lnTo>
                    <a:pt x="246580" y="25977"/>
                  </a:lnTo>
                  <a:lnTo>
                    <a:pt x="247398" y="25773"/>
                  </a:lnTo>
                  <a:lnTo>
                    <a:pt x="246477" y="24852"/>
                  </a:lnTo>
                  <a:lnTo>
                    <a:pt x="246580" y="24341"/>
                  </a:lnTo>
                  <a:lnTo>
                    <a:pt x="247193" y="24341"/>
                  </a:lnTo>
                  <a:lnTo>
                    <a:pt x="246068" y="22705"/>
                  </a:lnTo>
                  <a:lnTo>
                    <a:pt x="246170" y="22398"/>
                  </a:lnTo>
                  <a:lnTo>
                    <a:pt x="246375" y="22807"/>
                  </a:lnTo>
                  <a:lnTo>
                    <a:pt x="246784" y="22705"/>
                  </a:lnTo>
                  <a:lnTo>
                    <a:pt x="245045" y="21170"/>
                  </a:lnTo>
                  <a:lnTo>
                    <a:pt x="244330" y="21068"/>
                  </a:lnTo>
                  <a:lnTo>
                    <a:pt x="244432" y="21273"/>
                  </a:lnTo>
                  <a:lnTo>
                    <a:pt x="243614" y="20761"/>
                  </a:lnTo>
                  <a:lnTo>
                    <a:pt x="243307" y="19943"/>
                  </a:lnTo>
                  <a:lnTo>
                    <a:pt x="243409" y="19943"/>
                  </a:lnTo>
                  <a:lnTo>
                    <a:pt x="242898" y="19227"/>
                  </a:lnTo>
                  <a:lnTo>
                    <a:pt x="244023" y="19227"/>
                  </a:lnTo>
                  <a:lnTo>
                    <a:pt x="243818" y="19023"/>
                  </a:lnTo>
                  <a:lnTo>
                    <a:pt x="244330" y="18716"/>
                  </a:lnTo>
                  <a:lnTo>
                    <a:pt x="244943" y="19227"/>
                  </a:lnTo>
                  <a:lnTo>
                    <a:pt x="244943" y="18920"/>
                  </a:lnTo>
                  <a:lnTo>
                    <a:pt x="245250" y="18716"/>
                  </a:lnTo>
                  <a:lnTo>
                    <a:pt x="247807" y="19125"/>
                  </a:lnTo>
                  <a:lnTo>
                    <a:pt x="247398" y="18716"/>
                  </a:lnTo>
                  <a:lnTo>
                    <a:pt x="247909" y="18102"/>
                  </a:lnTo>
                  <a:lnTo>
                    <a:pt x="247807" y="18000"/>
                  </a:lnTo>
                  <a:lnTo>
                    <a:pt x="247909" y="17898"/>
                  </a:lnTo>
                  <a:lnTo>
                    <a:pt x="248011" y="17898"/>
                  </a:lnTo>
                  <a:lnTo>
                    <a:pt x="247807" y="17693"/>
                  </a:lnTo>
                  <a:lnTo>
                    <a:pt x="248011" y="17795"/>
                  </a:lnTo>
                  <a:lnTo>
                    <a:pt x="248011" y="17489"/>
                  </a:lnTo>
                  <a:lnTo>
                    <a:pt x="249545" y="16773"/>
                  </a:lnTo>
                  <a:lnTo>
                    <a:pt x="249136" y="16568"/>
                  </a:lnTo>
                  <a:lnTo>
                    <a:pt x="251182" y="16977"/>
                  </a:lnTo>
                  <a:lnTo>
                    <a:pt x="251080" y="16670"/>
                  </a:lnTo>
                  <a:lnTo>
                    <a:pt x="249443" y="15852"/>
                  </a:lnTo>
                  <a:lnTo>
                    <a:pt x="249443" y="15852"/>
                  </a:lnTo>
                  <a:lnTo>
                    <a:pt x="249545" y="15955"/>
                  </a:lnTo>
                  <a:lnTo>
                    <a:pt x="249545" y="15955"/>
                  </a:lnTo>
                  <a:lnTo>
                    <a:pt x="249136" y="15750"/>
                  </a:lnTo>
                  <a:lnTo>
                    <a:pt x="249239" y="15750"/>
                  </a:lnTo>
                  <a:lnTo>
                    <a:pt x="248011" y="15034"/>
                  </a:lnTo>
                  <a:lnTo>
                    <a:pt x="248114" y="15239"/>
                  </a:lnTo>
                  <a:lnTo>
                    <a:pt x="245045" y="14830"/>
                  </a:lnTo>
                  <a:lnTo>
                    <a:pt x="246682" y="14625"/>
                  </a:lnTo>
                  <a:lnTo>
                    <a:pt x="245761" y="14420"/>
                  </a:lnTo>
                  <a:lnTo>
                    <a:pt x="248318" y="14420"/>
                  </a:lnTo>
                  <a:lnTo>
                    <a:pt x="237375" y="10125"/>
                  </a:lnTo>
                  <a:lnTo>
                    <a:pt x="237477" y="10227"/>
                  </a:lnTo>
                  <a:lnTo>
                    <a:pt x="235330" y="10023"/>
                  </a:lnTo>
                  <a:lnTo>
                    <a:pt x="236864" y="11148"/>
                  </a:lnTo>
                  <a:lnTo>
                    <a:pt x="236864" y="11148"/>
                  </a:lnTo>
                  <a:lnTo>
                    <a:pt x="234000" y="10330"/>
                  </a:lnTo>
                  <a:lnTo>
                    <a:pt x="233795" y="10432"/>
                  </a:lnTo>
                  <a:lnTo>
                    <a:pt x="230523" y="10432"/>
                  </a:lnTo>
                  <a:lnTo>
                    <a:pt x="231136" y="11352"/>
                  </a:lnTo>
                  <a:lnTo>
                    <a:pt x="231136" y="11352"/>
                  </a:lnTo>
                  <a:lnTo>
                    <a:pt x="222034" y="9205"/>
                  </a:lnTo>
                  <a:lnTo>
                    <a:pt x="222239" y="9205"/>
                  </a:lnTo>
                  <a:lnTo>
                    <a:pt x="219375" y="8591"/>
                  </a:lnTo>
                  <a:lnTo>
                    <a:pt x="219886" y="8489"/>
                  </a:lnTo>
                  <a:lnTo>
                    <a:pt x="217636" y="8080"/>
                  </a:lnTo>
                  <a:lnTo>
                    <a:pt x="217330" y="8591"/>
                  </a:lnTo>
                  <a:lnTo>
                    <a:pt x="216614" y="8489"/>
                  </a:lnTo>
                  <a:lnTo>
                    <a:pt x="217023" y="8489"/>
                  </a:lnTo>
                  <a:lnTo>
                    <a:pt x="216716" y="8182"/>
                  </a:lnTo>
                  <a:lnTo>
                    <a:pt x="215693" y="8182"/>
                  </a:lnTo>
                  <a:lnTo>
                    <a:pt x="216920" y="8080"/>
                  </a:lnTo>
                  <a:lnTo>
                    <a:pt x="212727" y="7670"/>
                  </a:lnTo>
                  <a:lnTo>
                    <a:pt x="213341" y="7875"/>
                  </a:lnTo>
                  <a:lnTo>
                    <a:pt x="212420" y="8080"/>
                  </a:lnTo>
                  <a:lnTo>
                    <a:pt x="213239" y="8182"/>
                  </a:lnTo>
                  <a:lnTo>
                    <a:pt x="213034" y="8284"/>
                  </a:lnTo>
                  <a:lnTo>
                    <a:pt x="212932" y="8386"/>
                  </a:lnTo>
                  <a:lnTo>
                    <a:pt x="213852" y="8795"/>
                  </a:lnTo>
                  <a:lnTo>
                    <a:pt x="212830" y="8795"/>
                  </a:lnTo>
                  <a:lnTo>
                    <a:pt x="213034" y="9000"/>
                  </a:lnTo>
                  <a:lnTo>
                    <a:pt x="212830" y="9000"/>
                  </a:lnTo>
                  <a:lnTo>
                    <a:pt x="213034" y="9102"/>
                  </a:lnTo>
                  <a:lnTo>
                    <a:pt x="210886" y="8693"/>
                  </a:lnTo>
                  <a:lnTo>
                    <a:pt x="210580" y="8898"/>
                  </a:lnTo>
                  <a:lnTo>
                    <a:pt x="208739" y="8591"/>
                  </a:lnTo>
                  <a:lnTo>
                    <a:pt x="209045" y="9000"/>
                  </a:lnTo>
                  <a:lnTo>
                    <a:pt x="209045" y="9409"/>
                  </a:lnTo>
                  <a:lnTo>
                    <a:pt x="208534" y="9307"/>
                  </a:lnTo>
                  <a:lnTo>
                    <a:pt x="206591" y="8693"/>
                  </a:lnTo>
                  <a:lnTo>
                    <a:pt x="206898" y="8591"/>
                  </a:lnTo>
                  <a:lnTo>
                    <a:pt x="205057" y="8080"/>
                  </a:lnTo>
                  <a:lnTo>
                    <a:pt x="206386" y="8284"/>
                  </a:lnTo>
                  <a:lnTo>
                    <a:pt x="205364" y="7977"/>
                  </a:lnTo>
                  <a:lnTo>
                    <a:pt x="205773" y="7773"/>
                  </a:lnTo>
                  <a:lnTo>
                    <a:pt x="201068" y="7057"/>
                  </a:lnTo>
                  <a:lnTo>
                    <a:pt x="201682" y="7364"/>
                  </a:lnTo>
                  <a:lnTo>
                    <a:pt x="201170" y="7568"/>
                  </a:lnTo>
                  <a:lnTo>
                    <a:pt x="201477" y="7670"/>
                  </a:lnTo>
                  <a:lnTo>
                    <a:pt x="198205" y="7159"/>
                  </a:lnTo>
                  <a:lnTo>
                    <a:pt x="195034" y="7159"/>
                  </a:lnTo>
                  <a:lnTo>
                    <a:pt x="195443" y="7261"/>
                  </a:lnTo>
                  <a:lnTo>
                    <a:pt x="195545" y="7568"/>
                  </a:lnTo>
                  <a:lnTo>
                    <a:pt x="195955" y="7875"/>
                  </a:lnTo>
                  <a:lnTo>
                    <a:pt x="195545" y="7670"/>
                  </a:lnTo>
                  <a:lnTo>
                    <a:pt x="195545" y="7568"/>
                  </a:lnTo>
                  <a:lnTo>
                    <a:pt x="194830" y="7159"/>
                  </a:lnTo>
                  <a:lnTo>
                    <a:pt x="194830" y="6955"/>
                  </a:lnTo>
                  <a:lnTo>
                    <a:pt x="194216" y="6750"/>
                  </a:lnTo>
                  <a:lnTo>
                    <a:pt x="194011" y="6955"/>
                  </a:lnTo>
                  <a:lnTo>
                    <a:pt x="193193" y="6750"/>
                  </a:lnTo>
                  <a:lnTo>
                    <a:pt x="193295" y="6750"/>
                  </a:lnTo>
                  <a:lnTo>
                    <a:pt x="192989" y="6648"/>
                  </a:lnTo>
                  <a:lnTo>
                    <a:pt x="193091" y="6750"/>
                  </a:lnTo>
                  <a:lnTo>
                    <a:pt x="192375" y="6955"/>
                  </a:lnTo>
                  <a:lnTo>
                    <a:pt x="193193" y="6955"/>
                  </a:lnTo>
                  <a:lnTo>
                    <a:pt x="190432" y="7773"/>
                  </a:lnTo>
                  <a:lnTo>
                    <a:pt x="191966" y="6648"/>
                  </a:lnTo>
                  <a:lnTo>
                    <a:pt x="191966" y="6443"/>
                  </a:lnTo>
                  <a:lnTo>
                    <a:pt x="193193" y="5830"/>
                  </a:lnTo>
                  <a:lnTo>
                    <a:pt x="192068" y="5216"/>
                  </a:lnTo>
                  <a:lnTo>
                    <a:pt x="192068" y="5216"/>
                  </a:lnTo>
                  <a:lnTo>
                    <a:pt x="192989" y="5523"/>
                  </a:lnTo>
                  <a:lnTo>
                    <a:pt x="191966" y="4909"/>
                  </a:lnTo>
                  <a:lnTo>
                    <a:pt x="191966" y="5114"/>
                  </a:lnTo>
                  <a:lnTo>
                    <a:pt x="188489" y="4602"/>
                  </a:lnTo>
                  <a:lnTo>
                    <a:pt x="188489" y="4602"/>
                  </a:lnTo>
                  <a:lnTo>
                    <a:pt x="188591" y="4705"/>
                  </a:lnTo>
                  <a:lnTo>
                    <a:pt x="187670" y="4705"/>
                  </a:lnTo>
                  <a:lnTo>
                    <a:pt x="187977" y="4398"/>
                  </a:lnTo>
                  <a:lnTo>
                    <a:pt x="185830" y="4295"/>
                  </a:lnTo>
                  <a:lnTo>
                    <a:pt x="186648" y="4091"/>
                  </a:lnTo>
                  <a:lnTo>
                    <a:pt x="185114" y="3784"/>
                  </a:lnTo>
                  <a:close/>
                  <a:moveTo>
                    <a:pt x="252818" y="91125"/>
                  </a:moveTo>
                  <a:lnTo>
                    <a:pt x="252307" y="92455"/>
                  </a:lnTo>
                  <a:lnTo>
                    <a:pt x="252205" y="92352"/>
                  </a:lnTo>
                  <a:lnTo>
                    <a:pt x="252000" y="92966"/>
                  </a:lnTo>
                  <a:lnTo>
                    <a:pt x="252102" y="93170"/>
                  </a:lnTo>
                  <a:lnTo>
                    <a:pt x="250364" y="97875"/>
                  </a:lnTo>
                  <a:lnTo>
                    <a:pt x="249341" y="98080"/>
                  </a:lnTo>
                  <a:lnTo>
                    <a:pt x="246375" y="95727"/>
                  </a:lnTo>
                  <a:lnTo>
                    <a:pt x="246170" y="95011"/>
                  </a:lnTo>
                  <a:lnTo>
                    <a:pt x="246886" y="93580"/>
                  </a:lnTo>
                  <a:lnTo>
                    <a:pt x="247091" y="93682"/>
                  </a:lnTo>
                  <a:lnTo>
                    <a:pt x="247705" y="92761"/>
                  </a:lnTo>
                  <a:lnTo>
                    <a:pt x="247193" y="92455"/>
                  </a:lnTo>
                  <a:lnTo>
                    <a:pt x="247091" y="92864"/>
                  </a:lnTo>
                  <a:lnTo>
                    <a:pt x="246784" y="92352"/>
                  </a:lnTo>
                  <a:lnTo>
                    <a:pt x="246886" y="92148"/>
                  </a:lnTo>
                  <a:lnTo>
                    <a:pt x="246886" y="92148"/>
                  </a:lnTo>
                  <a:lnTo>
                    <a:pt x="246170" y="92557"/>
                  </a:lnTo>
                  <a:lnTo>
                    <a:pt x="244227" y="91841"/>
                  </a:lnTo>
                  <a:lnTo>
                    <a:pt x="244023" y="91841"/>
                  </a:lnTo>
                  <a:lnTo>
                    <a:pt x="243716" y="91534"/>
                  </a:lnTo>
                  <a:lnTo>
                    <a:pt x="243307" y="91534"/>
                  </a:lnTo>
                  <a:lnTo>
                    <a:pt x="243818" y="91841"/>
                  </a:lnTo>
                  <a:lnTo>
                    <a:pt x="243920" y="92455"/>
                  </a:lnTo>
                  <a:lnTo>
                    <a:pt x="243614" y="92659"/>
                  </a:lnTo>
                  <a:lnTo>
                    <a:pt x="242591" y="92455"/>
                  </a:lnTo>
                  <a:lnTo>
                    <a:pt x="242182" y="92966"/>
                  </a:lnTo>
                  <a:lnTo>
                    <a:pt x="241977" y="92864"/>
                  </a:lnTo>
                  <a:lnTo>
                    <a:pt x="241977" y="93068"/>
                  </a:lnTo>
                  <a:lnTo>
                    <a:pt x="241773" y="93068"/>
                  </a:lnTo>
                  <a:lnTo>
                    <a:pt x="241466" y="93375"/>
                  </a:lnTo>
                  <a:lnTo>
                    <a:pt x="241466" y="93784"/>
                  </a:lnTo>
                  <a:lnTo>
                    <a:pt x="241159" y="93989"/>
                  </a:lnTo>
                  <a:lnTo>
                    <a:pt x="240852" y="95011"/>
                  </a:lnTo>
                  <a:lnTo>
                    <a:pt x="240955" y="95318"/>
                  </a:lnTo>
                  <a:lnTo>
                    <a:pt x="240750" y="95625"/>
                  </a:lnTo>
                  <a:lnTo>
                    <a:pt x="239420" y="95727"/>
                  </a:lnTo>
                  <a:lnTo>
                    <a:pt x="239318" y="95727"/>
                  </a:lnTo>
                  <a:lnTo>
                    <a:pt x="239318" y="95011"/>
                  </a:lnTo>
                  <a:lnTo>
                    <a:pt x="238500" y="94193"/>
                  </a:lnTo>
                  <a:lnTo>
                    <a:pt x="238295" y="94500"/>
                  </a:lnTo>
                  <a:lnTo>
                    <a:pt x="237784" y="94602"/>
                  </a:lnTo>
                  <a:lnTo>
                    <a:pt x="237375" y="95114"/>
                  </a:lnTo>
                  <a:lnTo>
                    <a:pt x="237273" y="95011"/>
                  </a:lnTo>
                  <a:lnTo>
                    <a:pt x="237273" y="94705"/>
                  </a:lnTo>
                  <a:lnTo>
                    <a:pt x="236557" y="95932"/>
                  </a:lnTo>
                  <a:lnTo>
                    <a:pt x="236250" y="95727"/>
                  </a:lnTo>
                  <a:lnTo>
                    <a:pt x="235943" y="96443"/>
                  </a:lnTo>
                  <a:lnTo>
                    <a:pt x="236148" y="96341"/>
                  </a:lnTo>
                  <a:lnTo>
                    <a:pt x="236045" y="96545"/>
                  </a:lnTo>
                  <a:lnTo>
                    <a:pt x="235841" y="96648"/>
                  </a:lnTo>
                  <a:lnTo>
                    <a:pt x="236148" y="96955"/>
                  </a:lnTo>
                  <a:lnTo>
                    <a:pt x="235023" y="97057"/>
                  </a:lnTo>
                  <a:lnTo>
                    <a:pt x="235125" y="97670"/>
                  </a:lnTo>
                  <a:lnTo>
                    <a:pt x="234818" y="98080"/>
                  </a:lnTo>
                  <a:lnTo>
                    <a:pt x="234614" y="97364"/>
                  </a:lnTo>
                  <a:lnTo>
                    <a:pt x="234307" y="97159"/>
                  </a:lnTo>
                  <a:lnTo>
                    <a:pt x="233795" y="97568"/>
                  </a:lnTo>
                  <a:lnTo>
                    <a:pt x="233489" y="98795"/>
                  </a:lnTo>
                  <a:lnTo>
                    <a:pt x="225511" y="103193"/>
                  </a:lnTo>
                  <a:lnTo>
                    <a:pt x="225614" y="102477"/>
                  </a:lnTo>
                  <a:lnTo>
                    <a:pt x="224591" y="105034"/>
                  </a:lnTo>
                  <a:lnTo>
                    <a:pt x="224795" y="106466"/>
                  </a:lnTo>
                  <a:lnTo>
                    <a:pt x="224386" y="106977"/>
                  </a:lnTo>
                  <a:lnTo>
                    <a:pt x="224386" y="107386"/>
                  </a:lnTo>
                  <a:lnTo>
                    <a:pt x="224080" y="106875"/>
                  </a:lnTo>
                  <a:lnTo>
                    <a:pt x="223977" y="106977"/>
                  </a:lnTo>
                  <a:lnTo>
                    <a:pt x="223875" y="106977"/>
                  </a:lnTo>
                  <a:lnTo>
                    <a:pt x="224284" y="113318"/>
                  </a:lnTo>
                  <a:lnTo>
                    <a:pt x="222955" y="115261"/>
                  </a:lnTo>
                  <a:lnTo>
                    <a:pt x="223159" y="115364"/>
                  </a:lnTo>
                  <a:lnTo>
                    <a:pt x="223568" y="115773"/>
                  </a:lnTo>
                  <a:lnTo>
                    <a:pt x="228989" y="114852"/>
                  </a:lnTo>
                  <a:lnTo>
                    <a:pt x="229193" y="114955"/>
                  </a:lnTo>
                  <a:lnTo>
                    <a:pt x="237068" y="112500"/>
                  </a:lnTo>
                  <a:lnTo>
                    <a:pt x="239932" y="113216"/>
                  </a:lnTo>
                  <a:lnTo>
                    <a:pt x="240136" y="113523"/>
                  </a:lnTo>
                  <a:lnTo>
                    <a:pt x="240034" y="113727"/>
                  </a:lnTo>
                  <a:lnTo>
                    <a:pt x="240341" y="115364"/>
                  </a:lnTo>
                  <a:lnTo>
                    <a:pt x="240034" y="115568"/>
                  </a:lnTo>
                  <a:lnTo>
                    <a:pt x="240341" y="115977"/>
                  </a:lnTo>
                  <a:lnTo>
                    <a:pt x="240648" y="115977"/>
                  </a:lnTo>
                  <a:lnTo>
                    <a:pt x="240648" y="115670"/>
                  </a:lnTo>
                  <a:lnTo>
                    <a:pt x="243205" y="113523"/>
                  </a:lnTo>
                  <a:lnTo>
                    <a:pt x="241261" y="116284"/>
                  </a:lnTo>
                  <a:lnTo>
                    <a:pt x="242795" y="115159"/>
                  </a:lnTo>
                  <a:lnTo>
                    <a:pt x="242795" y="115977"/>
                  </a:lnTo>
                  <a:lnTo>
                    <a:pt x="242182" y="116693"/>
                  </a:lnTo>
                  <a:lnTo>
                    <a:pt x="242182" y="116693"/>
                  </a:lnTo>
                  <a:lnTo>
                    <a:pt x="242898" y="116489"/>
                  </a:lnTo>
                  <a:lnTo>
                    <a:pt x="243000" y="116591"/>
                  </a:lnTo>
                  <a:lnTo>
                    <a:pt x="243102" y="116591"/>
                  </a:lnTo>
                  <a:lnTo>
                    <a:pt x="243102" y="116693"/>
                  </a:lnTo>
                  <a:lnTo>
                    <a:pt x="243000" y="116591"/>
                  </a:lnTo>
                  <a:lnTo>
                    <a:pt x="242898" y="116591"/>
                  </a:lnTo>
                  <a:lnTo>
                    <a:pt x="243000" y="119148"/>
                  </a:lnTo>
                  <a:lnTo>
                    <a:pt x="244739" y="119864"/>
                  </a:lnTo>
                  <a:lnTo>
                    <a:pt x="246273" y="119352"/>
                  </a:lnTo>
                  <a:lnTo>
                    <a:pt x="246170" y="119352"/>
                  </a:lnTo>
                  <a:lnTo>
                    <a:pt x="246784" y="119148"/>
                  </a:lnTo>
                  <a:lnTo>
                    <a:pt x="246784" y="119148"/>
                  </a:lnTo>
                  <a:lnTo>
                    <a:pt x="246273" y="119557"/>
                  </a:lnTo>
                  <a:lnTo>
                    <a:pt x="246989" y="119557"/>
                  </a:lnTo>
                  <a:lnTo>
                    <a:pt x="246784" y="119761"/>
                  </a:lnTo>
                  <a:lnTo>
                    <a:pt x="247193" y="120375"/>
                  </a:lnTo>
                  <a:lnTo>
                    <a:pt x="247500" y="120068"/>
                  </a:lnTo>
                  <a:lnTo>
                    <a:pt x="247295" y="120068"/>
                  </a:lnTo>
                  <a:lnTo>
                    <a:pt x="254148" y="115057"/>
                  </a:lnTo>
                  <a:lnTo>
                    <a:pt x="254045" y="114955"/>
                  </a:lnTo>
                  <a:lnTo>
                    <a:pt x="258648" y="109432"/>
                  </a:lnTo>
                  <a:lnTo>
                    <a:pt x="259261" y="106773"/>
                  </a:lnTo>
                  <a:lnTo>
                    <a:pt x="258648" y="104932"/>
                  </a:lnTo>
                  <a:lnTo>
                    <a:pt x="258034" y="104420"/>
                  </a:lnTo>
                  <a:lnTo>
                    <a:pt x="257932" y="103193"/>
                  </a:lnTo>
                  <a:lnTo>
                    <a:pt x="257318" y="103193"/>
                  </a:lnTo>
                  <a:lnTo>
                    <a:pt x="257318" y="103091"/>
                  </a:lnTo>
                  <a:lnTo>
                    <a:pt x="257114" y="103091"/>
                  </a:lnTo>
                  <a:lnTo>
                    <a:pt x="256909" y="101148"/>
                  </a:lnTo>
                  <a:lnTo>
                    <a:pt x="254966" y="99614"/>
                  </a:lnTo>
                  <a:lnTo>
                    <a:pt x="254761" y="95318"/>
                  </a:lnTo>
                  <a:lnTo>
                    <a:pt x="254250" y="94807"/>
                  </a:lnTo>
                  <a:lnTo>
                    <a:pt x="253739" y="94909"/>
                  </a:lnTo>
                  <a:lnTo>
                    <a:pt x="252920" y="91227"/>
                  </a:lnTo>
                  <a:lnTo>
                    <a:pt x="252818" y="91125"/>
                  </a:lnTo>
                  <a:close/>
                  <a:moveTo>
                    <a:pt x="272352" y="115466"/>
                  </a:moveTo>
                  <a:lnTo>
                    <a:pt x="272352" y="116591"/>
                  </a:lnTo>
                  <a:lnTo>
                    <a:pt x="272659" y="116386"/>
                  </a:lnTo>
                  <a:lnTo>
                    <a:pt x="272352" y="116693"/>
                  </a:lnTo>
                  <a:lnTo>
                    <a:pt x="272352" y="117511"/>
                  </a:lnTo>
                  <a:lnTo>
                    <a:pt x="272557" y="117000"/>
                  </a:lnTo>
                  <a:lnTo>
                    <a:pt x="272557" y="117307"/>
                  </a:lnTo>
                  <a:lnTo>
                    <a:pt x="272659" y="117205"/>
                  </a:lnTo>
                  <a:lnTo>
                    <a:pt x="272455" y="117716"/>
                  </a:lnTo>
                  <a:lnTo>
                    <a:pt x="272352" y="117614"/>
                  </a:lnTo>
                  <a:lnTo>
                    <a:pt x="272352" y="118125"/>
                  </a:lnTo>
                  <a:lnTo>
                    <a:pt x="272659" y="118227"/>
                  </a:lnTo>
                  <a:lnTo>
                    <a:pt x="272352" y="118330"/>
                  </a:lnTo>
                  <a:lnTo>
                    <a:pt x="272352" y="118227"/>
                  </a:lnTo>
                  <a:lnTo>
                    <a:pt x="270920" y="120170"/>
                  </a:lnTo>
                  <a:lnTo>
                    <a:pt x="270205" y="120477"/>
                  </a:lnTo>
                  <a:lnTo>
                    <a:pt x="270716" y="121398"/>
                  </a:lnTo>
                  <a:lnTo>
                    <a:pt x="269386" y="122523"/>
                  </a:lnTo>
                  <a:lnTo>
                    <a:pt x="269591" y="122420"/>
                  </a:lnTo>
                  <a:lnTo>
                    <a:pt x="269489" y="122625"/>
                  </a:lnTo>
                  <a:lnTo>
                    <a:pt x="270102" y="122625"/>
                  </a:lnTo>
                  <a:lnTo>
                    <a:pt x="275216" y="118739"/>
                  </a:lnTo>
                  <a:lnTo>
                    <a:pt x="274091" y="119148"/>
                  </a:lnTo>
                  <a:lnTo>
                    <a:pt x="273273" y="118739"/>
                  </a:lnTo>
                  <a:lnTo>
                    <a:pt x="273580" y="117818"/>
                  </a:lnTo>
                  <a:lnTo>
                    <a:pt x="273477" y="117818"/>
                  </a:lnTo>
                  <a:lnTo>
                    <a:pt x="273477" y="117614"/>
                  </a:lnTo>
                  <a:lnTo>
                    <a:pt x="273170" y="118330"/>
                  </a:lnTo>
                  <a:lnTo>
                    <a:pt x="272659" y="117920"/>
                  </a:lnTo>
                  <a:lnTo>
                    <a:pt x="273273" y="116284"/>
                  </a:lnTo>
                  <a:lnTo>
                    <a:pt x="273068" y="116386"/>
                  </a:lnTo>
                  <a:lnTo>
                    <a:pt x="272761" y="115875"/>
                  </a:lnTo>
                  <a:lnTo>
                    <a:pt x="272557" y="115977"/>
                  </a:lnTo>
                  <a:lnTo>
                    <a:pt x="272557" y="115977"/>
                  </a:lnTo>
                  <a:lnTo>
                    <a:pt x="272659" y="115466"/>
                  </a:lnTo>
                  <a:close/>
                  <a:moveTo>
                    <a:pt x="246959" y="123166"/>
                  </a:moveTo>
                  <a:lnTo>
                    <a:pt x="246901" y="123224"/>
                  </a:lnTo>
                  <a:lnTo>
                    <a:pt x="246901" y="123224"/>
                  </a:lnTo>
                  <a:lnTo>
                    <a:pt x="246959" y="123166"/>
                  </a:lnTo>
                  <a:close/>
                  <a:moveTo>
                    <a:pt x="246901" y="123224"/>
                  </a:moveTo>
                  <a:lnTo>
                    <a:pt x="246886" y="123239"/>
                  </a:lnTo>
                  <a:lnTo>
                    <a:pt x="246784" y="123443"/>
                  </a:lnTo>
                  <a:lnTo>
                    <a:pt x="246784" y="123443"/>
                  </a:lnTo>
                  <a:lnTo>
                    <a:pt x="246901" y="123224"/>
                  </a:lnTo>
                  <a:close/>
                  <a:moveTo>
                    <a:pt x="244841" y="121807"/>
                  </a:moveTo>
                  <a:lnTo>
                    <a:pt x="244330" y="123341"/>
                  </a:lnTo>
                  <a:lnTo>
                    <a:pt x="244432" y="123341"/>
                  </a:lnTo>
                  <a:lnTo>
                    <a:pt x="244330" y="123648"/>
                  </a:lnTo>
                  <a:lnTo>
                    <a:pt x="244227" y="123443"/>
                  </a:lnTo>
                  <a:lnTo>
                    <a:pt x="244330" y="124466"/>
                  </a:lnTo>
                  <a:lnTo>
                    <a:pt x="244023" y="124670"/>
                  </a:lnTo>
                  <a:lnTo>
                    <a:pt x="244739" y="124670"/>
                  </a:lnTo>
                  <a:lnTo>
                    <a:pt x="245659" y="123955"/>
                  </a:lnTo>
                  <a:lnTo>
                    <a:pt x="245557" y="124159"/>
                  </a:lnTo>
                  <a:lnTo>
                    <a:pt x="245557" y="124159"/>
                  </a:lnTo>
                  <a:lnTo>
                    <a:pt x="245966" y="124057"/>
                  </a:lnTo>
                  <a:lnTo>
                    <a:pt x="245761" y="124364"/>
                  </a:lnTo>
                  <a:lnTo>
                    <a:pt x="246901" y="123224"/>
                  </a:lnTo>
                  <a:lnTo>
                    <a:pt x="247602" y="121909"/>
                  </a:lnTo>
                  <a:lnTo>
                    <a:pt x="246375" y="122318"/>
                  </a:lnTo>
                  <a:lnTo>
                    <a:pt x="244841" y="121807"/>
                  </a:lnTo>
                  <a:close/>
                  <a:moveTo>
                    <a:pt x="265623" y="124957"/>
                  </a:moveTo>
                  <a:lnTo>
                    <a:pt x="265500" y="124977"/>
                  </a:lnTo>
                  <a:lnTo>
                    <a:pt x="265705" y="124977"/>
                  </a:lnTo>
                  <a:lnTo>
                    <a:pt x="265623" y="124957"/>
                  </a:lnTo>
                  <a:close/>
                  <a:moveTo>
                    <a:pt x="268568" y="121705"/>
                  </a:moveTo>
                  <a:lnTo>
                    <a:pt x="265091" y="124057"/>
                  </a:lnTo>
                  <a:lnTo>
                    <a:pt x="265193" y="123852"/>
                  </a:lnTo>
                  <a:lnTo>
                    <a:pt x="265193" y="123852"/>
                  </a:lnTo>
                  <a:lnTo>
                    <a:pt x="264784" y="124159"/>
                  </a:lnTo>
                  <a:lnTo>
                    <a:pt x="264580" y="124261"/>
                  </a:lnTo>
                  <a:lnTo>
                    <a:pt x="264375" y="124261"/>
                  </a:lnTo>
                  <a:lnTo>
                    <a:pt x="264375" y="124364"/>
                  </a:lnTo>
                  <a:lnTo>
                    <a:pt x="260489" y="126102"/>
                  </a:lnTo>
                  <a:lnTo>
                    <a:pt x="260489" y="126102"/>
                  </a:lnTo>
                  <a:lnTo>
                    <a:pt x="260591" y="126000"/>
                  </a:lnTo>
                  <a:lnTo>
                    <a:pt x="259466" y="126818"/>
                  </a:lnTo>
                  <a:lnTo>
                    <a:pt x="259670" y="126818"/>
                  </a:lnTo>
                  <a:lnTo>
                    <a:pt x="259364" y="126920"/>
                  </a:lnTo>
                  <a:lnTo>
                    <a:pt x="259568" y="126920"/>
                  </a:lnTo>
                  <a:lnTo>
                    <a:pt x="259063" y="127173"/>
                  </a:lnTo>
                  <a:lnTo>
                    <a:pt x="259063" y="127173"/>
                  </a:lnTo>
                  <a:lnTo>
                    <a:pt x="259159" y="127125"/>
                  </a:lnTo>
                  <a:lnTo>
                    <a:pt x="258955" y="127330"/>
                  </a:lnTo>
                  <a:lnTo>
                    <a:pt x="259261" y="127227"/>
                  </a:lnTo>
                  <a:lnTo>
                    <a:pt x="258955" y="127432"/>
                  </a:lnTo>
                  <a:lnTo>
                    <a:pt x="259670" y="127636"/>
                  </a:lnTo>
                  <a:lnTo>
                    <a:pt x="259875" y="127841"/>
                  </a:lnTo>
                  <a:lnTo>
                    <a:pt x="265295" y="124875"/>
                  </a:lnTo>
                  <a:lnTo>
                    <a:pt x="265623" y="124957"/>
                  </a:lnTo>
                  <a:lnTo>
                    <a:pt x="265623" y="124957"/>
                  </a:lnTo>
                  <a:lnTo>
                    <a:pt x="266114" y="124875"/>
                  </a:lnTo>
                  <a:lnTo>
                    <a:pt x="266011" y="124670"/>
                  </a:lnTo>
                  <a:lnTo>
                    <a:pt x="265909" y="124670"/>
                  </a:lnTo>
                  <a:lnTo>
                    <a:pt x="269284" y="122318"/>
                  </a:lnTo>
                  <a:lnTo>
                    <a:pt x="268875" y="122420"/>
                  </a:lnTo>
                  <a:lnTo>
                    <a:pt x="268875" y="122420"/>
                  </a:lnTo>
                  <a:lnTo>
                    <a:pt x="269080" y="122318"/>
                  </a:lnTo>
                  <a:lnTo>
                    <a:pt x="269284" y="122216"/>
                  </a:lnTo>
                  <a:lnTo>
                    <a:pt x="269284" y="122216"/>
                  </a:lnTo>
                  <a:lnTo>
                    <a:pt x="268670" y="122420"/>
                  </a:lnTo>
                  <a:lnTo>
                    <a:pt x="269080" y="122114"/>
                  </a:lnTo>
                  <a:lnTo>
                    <a:pt x="268159" y="122420"/>
                  </a:lnTo>
                  <a:lnTo>
                    <a:pt x="268261" y="122011"/>
                  </a:lnTo>
                  <a:lnTo>
                    <a:pt x="268568" y="121705"/>
                  </a:lnTo>
                  <a:close/>
                  <a:moveTo>
                    <a:pt x="76909" y="132648"/>
                  </a:moveTo>
                  <a:lnTo>
                    <a:pt x="77216" y="132852"/>
                  </a:lnTo>
                  <a:lnTo>
                    <a:pt x="77011" y="132955"/>
                  </a:lnTo>
                  <a:lnTo>
                    <a:pt x="77216" y="133057"/>
                  </a:lnTo>
                  <a:lnTo>
                    <a:pt x="76807" y="133261"/>
                  </a:lnTo>
                  <a:lnTo>
                    <a:pt x="77625" y="133057"/>
                  </a:lnTo>
                  <a:lnTo>
                    <a:pt x="77830" y="132750"/>
                  </a:lnTo>
                  <a:lnTo>
                    <a:pt x="76909" y="132648"/>
                  </a:lnTo>
                  <a:close/>
                  <a:moveTo>
                    <a:pt x="78136" y="132545"/>
                  </a:moveTo>
                  <a:lnTo>
                    <a:pt x="78136" y="133261"/>
                  </a:lnTo>
                  <a:lnTo>
                    <a:pt x="78648" y="133364"/>
                  </a:lnTo>
                  <a:lnTo>
                    <a:pt x="78545" y="133159"/>
                  </a:lnTo>
                  <a:lnTo>
                    <a:pt x="78852" y="133057"/>
                  </a:lnTo>
                  <a:lnTo>
                    <a:pt x="78955" y="132852"/>
                  </a:lnTo>
                  <a:lnTo>
                    <a:pt x="79057" y="132750"/>
                  </a:lnTo>
                  <a:lnTo>
                    <a:pt x="78750" y="132852"/>
                  </a:lnTo>
                  <a:lnTo>
                    <a:pt x="78443" y="132648"/>
                  </a:lnTo>
                  <a:lnTo>
                    <a:pt x="78545" y="132648"/>
                  </a:lnTo>
                  <a:lnTo>
                    <a:pt x="78136" y="132545"/>
                  </a:lnTo>
                  <a:close/>
                  <a:moveTo>
                    <a:pt x="78136" y="133261"/>
                  </a:moveTo>
                  <a:lnTo>
                    <a:pt x="78136" y="133568"/>
                  </a:lnTo>
                  <a:lnTo>
                    <a:pt x="78341" y="133364"/>
                  </a:lnTo>
                  <a:lnTo>
                    <a:pt x="78136" y="133261"/>
                  </a:lnTo>
                  <a:close/>
                  <a:moveTo>
                    <a:pt x="68830" y="133875"/>
                  </a:moveTo>
                  <a:lnTo>
                    <a:pt x="67970" y="133970"/>
                  </a:lnTo>
                  <a:lnTo>
                    <a:pt x="67970" y="133970"/>
                  </a:lnTo>
                  <a:lnTo>
                    <a:pt x="68114" y="133875"/>
                  </a:lnTo>
                  <a:close/>
                  <a:moveTo>
                    <a:pt x="63920" y="8386"/>
                  </a:moveTo>
                  <a:lnTo>
                    <a:pt x="62795" y="8795"/>
                  </a:lnTo>
                  <a:lnTo>
                    <a:pt x="63000" y="8795"/>
                  </a:lnTo>
                  <a:lnTo>
                    <a:pt x="62182" y="9000"/>
                  </a:lnTo>
                  <a:lnTo>
                    <a:pt x="61568" y="10330"/>
                  </a:lnTo>
                  <a:lnTo>
                    <a:pt x="62693" y="10534"/>
                  </a:lnTo>
                  <a:lnTo>
                    <a:pt x="62693" y="10636"/>
                  </a:lnTo>
                  <a:lnTo>
                    <a:pt x="62386" y="10739"/>
                  </a:lnTo>
                  <a:lnTo>
                    <a:pt x="62591" y="10636"/>
                  </a:lnTo>
                  <a:lnTo>
                    <a:pt x="61977" y="10841"/>
                  </a:lnTo>
                  <a:lnTo>
                    <a:pt x="62080" y="10841"/>
                  </a:lnTo>
                  <a:lnTo>
                    <a:pt x="61568" y="11148"/>
                  </a:lnTo>
                  <a:lnTo>
                    <a:pt x="62182" y="11250"/>
                  </a:lnTo>
                  <a:lnTo>
                    <a:pt x="60136" y="12068"/>
                  </a:lnTo>
                  <a:lnTo>
                    <a:pt x="59727" y="12784"/>
                  </a:lnTo>
                  <a:lnTo>
                    <a:pt x="59216" y="12784"/>
                  </a:lnTo>
                  <a:lnTo>
                    <a:pt x="59216" y="13091"/>
                  </a:lnTo>
                  <a:lnTo>
                    <a:pt x="59114" y="12682"/>
                  </a:lnTo>
                  <a:lnTo>
                    <a:pt x="59420" y="12682"/>
                  </a:lnTo>
                  <a:lnTo>
                    <a:pt x="59727" y="12477"/>
                  </a:lnTo>
                  <a:lnTo>
                    <a:pt x="59420" y="12477"/>
                  </a:lnTo>
                  <a:lnTo>
                    <a:pt x="60239" y="11557"/>
                  </a:lnTo>
                  <a:lnTo>
                    <a:pt x="59523" y="11761"/>
                  </a:lnTo>
                  <a:lnTo>
                    <a:pt x="59523" y="11761"/>
                  </a:lnTo>
                  <a:lnTo>
                    <a:pt x="59932" y="11557"/>
                  </a:lnTo>
                  <a:lnTo>
                    <a:pt x="59523" y="11557"/>
                  </a:lnTo>
                  <a:lnTo>
                    <a:pt x="59420" y="11352"/>
                  </a:lnTo>
                  <a:lnTo>
                    <a:pt x="58602" y="11455"/>
                  </a:lnTo>
                  <a:lnTo>
                    <a:pt x="58500" y="11864"/>
                  </a:lnTo>
                  <a:lnTo>
                    <a:pt x="59114" y="11966"/>
                  </a:lnTo>
                  <a:lnTo>
                    <a:pt x="58500" y="12068"/>
                  </a:lnTo>
                  <a:lnTo>
                    <a:pt x="58295" y="11761"/>
                  </a:lnTo>
                  <a:lnTo>
                    <a:pt x="58295" y="11966"/>
                  </a:lnTo>
                  <a:lnTo>
                    <a:pt x="54307" y="11557"/>
                  </a:lnTo>
                  <a:lnTo>
                    <a:pt x="53795" y="11045"/>
                  </a:lnTo>
                  <a:lnTo>
                    <a:pt x="51750" y="11557"/>
                  </a:lnTo>
                  <a:lnTo>
                    <a:pt x="54000" y="11250"/>
                  </a:lnTo>
                  <a:lnTo>
                    <a:pt x="54000" y="11250"/>
                  </a:lnTo>
                  <a:lnTo>
                    <a:pt x="52057" y="11966"/>
                  </a:lnTo>
                  <a:lnTo>
                    <a:pt x="51239" y="13193"/>
                  </a:lnTo>
                  <a:lnTo>
                    <a:pt x="50932" y="12068"/>
                  </a:lnTo>
                  <a:lnTo>
                    <a:pt x="50727" y="11966"/>
                  </a:lnTo>
                  <a:lnTo>
                    <a:pt x="50625" y="11864"/>
                  </a:lnTo>
                  <a:lnTo>
                    <a:pt x="46943" y="11864"/>
                  </a:lnTo>
                  <a:lnTo>
                    <a:pt x="48375" y="11455"/>
                  </a:lnTo>
                  <a:lnTo>
                    <a:pt x="42341" y="10636"/>
                  </a:lnTo>
                  <a:lnTo>
                    <a:pt x="42852" y="10330"/>
                  </a:lnTo>
                  <a:lnTo>
                    <a:pt x="43057" y="9920"/>
                  </a:lnTo>
                  <a:lnTo>
                    <a:pt x="42545" y="10023"/>
                  </a:lnTo>
                  <a:lnTo>
                    <a:pt x="42750" y="10125"/>
                  </a:lnTo>
                  <a:lnTo>
                    <a:pt x="41420" y="10636"/>
                  </a:lnTo>
                  <a:lnTo>
                    <a:pt x="41420" y="9920"/>
                  </a:lnTo>
                  <a:lnTo>
                    <a:pt x="40909" y="9716"/>
                  </a:lnTo>
                  <a:lnTo>
                    <a:pt x="40909" y="9716"/>
                  </a:lnTo>
                  <a:lnTo>
                    <a:pt x="41011" y="9818"/>
                  </a:lnTo>
                  <a:lnTo>
                    <a:pt x="41114" y="9818"/>
                  </a:lnTo>
                  <a:lnTo>
                    <a:pt x="39580" y="10330"/>
                  </a:lnTo>
                  <a:lnTo>
                    <a:pt x="39989" y="10125"/>
                  </a:lnTo>
                  <a:lnTo>
                    <a:pt x="37841" y="10739"/>
                  </a:lnTo>
                  <a:lnTo>
                    <a:pt x="38045" y="10534"/>
                  </a:lnTo>
                  <a:lnTo>
                    <a:pt x="37739" y="10636"/>
                  </a:lnTo>
                  <a:lnTo>
                    <a:pt x="37841" y="10636"/>
                  </a:lnTo>
                  <a:lnTo>
                    <a:pt x="36409" y="11045"/>
                  </a:lnTo>
                  <a:lnTo>
                    <a:pt x="36102" y="11045"/>
                  </a:lnTo>
                  <a:lnTo>
                    <a:pt x="35898" y="11148"/>
                  </a:lnTo>
                  <a:lnTo>
                    <a:pt x="35898" y="11045"/>
                  </a:lnTo>
                  <a:lnTo>
                    <a:pt x="36102" y="11045"/>
                  </a:lnTo>
                  <a:lnTo>
                    <a:pt x="39682" y="9920"/>
                  </a:lnTo>
                  <a:lnTo>
                    <a:pt x="37330" y="10330"/>
                  </a:lnTo>
                  <a:lnTo>
                    <a:pt x="37432" y="10330"/>
                  </a:lnTo>
                  <a:lnTo>
                    <a:pt x="35795" y="10739"/>
                  </a:lnTo>
                  <a:lnTo>
                    <a:pt x="36307" y="10534"/>
                  </a:lnTo>
                  <a:lnTo>
                    <a:pt x="34466" y="10841"/>
                  </a:lnTo>
                  <a:lnTo>
                    <a:pt x="34670" y="10943"/>
                  </a:lnTo>
                  <a:lnTo>
                    <a:pt x="34364" y="11045"/>
                  </a:lnTo>
                  <a:lnTo>
                    <a:pt x="34568" y="11148"/>
                  </a:lnTo>
                  <a:lnTo>
                    <a:pt x="25466" y="9716"/>
                  </a:lnTo>
                  <a:lnTo>
                    <a:pt x="25773" y="9614"/>
                  </a:lnTo>
                  <a:lnTo>
                    <a:pt x="25466" y="9614"/>
                  </a:lnTo>
                  <a:lnTo>
                    <a:pt x="25466" y="9511"/>
                  </a:lnTo>
                  <a:lnTo>
                    <a:pt x="25364" y="9511"/>
                  </a:lnTo>
                  <a:lnTo>
                    <a:pt x="25773" y="9409"/>
                  </a:lnTo>
                  <a:lnTo>
                    <a:pt x="24239" y="9307"/>
                  </a:lnTo>
                  <a:lnTo>
                    <a:pt x="24341" y="9205"/>
                  </a:lnTo>
                  <a:lnTo>
                    <a:pt x="23318" y="9409"/>
                  </a:lnTo>
                  <a:lnTo>
                    <a:pt x="23318" y="9307"/>
                  </a:lnTo>
                  <a:lnTo>
                    <a:pt x="24034" y="9102"/>
                  </a:lnTo>
                  <a:lnTo>
                    <a:pt x="23625" y="9000"/>
                  </a:lnTo>
                  <a:lnTo>
                    <a:pt x="23727" y="8898"/>
                  </a:lnTo>
                  <a:lnTo>
                    <a:pt x="23727" y="8898"/>
                  </a:lnTo>
                  <a:lnTo>
                    <a:pt x="21068" y="9409"/>
                  </a:lnTo>
                  <a:lnTo>
                    <a:pt x="21068" y="9409"/>
                  </a:lnTo>
                  <a:lnTo>
                    <a:pt x="21273" y="9307"/>
                  </a:lnTo>
                  <a:lnTo>
                    <a:pt x="20455" y="9511"/>
                  </a:lnTo>
                  <a:lnTo>
                    <a:pt x="20761" y="9614"/>
                  </a:lnTo>
                  <a:lnTo>
                    <a:pt x="20148" y="9818"/>
                  </a:lnTo>
                  <a:lnTo>
                    <a:pt x="20045" y="9818"/>
                  </a:lnTo>
                  <a:lnTo>
                    <a:pt x="20455" y="9614"/>
                  </a:lnTo>
                  <a:lnTo>
                    <a:pt x="18637" y="9901"/>
                  </a:lnTo>
                  <a:lnTo>
                    <a:pt x="18637" y="9901"/>
                  </a:lnTo>
                  <a:lnTo>
                    <a:pt x="13295" y="11455"/>
                  </a:lnTo>
                  <a:lnTo>
                    <a:pt x="13398" y="11455"/>
                  </a:lnTo>
                  <a:lnTo>
                    <a:pt x="13193" y="11557"/>
                  </a:lnTo>
                  <a:lnTo>
                    <a:pt x="14011" y="12273"/>
                  </a:lnTo>
                  <a:lnTo>
                    <a:pt x="13909" y="12682"/>
                  </a:lnTo>
                  <a:lnTo>
                    <a:pt x="14625" y="12580"/>
                  </a:lnTo>
                  <a:lnTo>
                    <a:pt x="14625" y="12580"/>
                  </a:lnTo>
                  <a:lnTo>
                    <a:pt x="14523" y="12682"/>
                  </a:lnTo>
                  <a:lnTo>
                    <a:pt x="14932" y="12682"/>
                  </a:lnTo>
                  <a:lnTo>
                    <a:pt x="14523" y="12989"/>
                  </a:lnTo>
                  <a:lnTo>
                    <a:pt x="15341" y="13091"/>
                  </a:lnTo>
                  <a:lnTo>
                    <a:pt x="14727" y="13193"/>
                  </a:lnTo>
                  <a:lnTo>
                    <a:pt x="14523" y="12989"/>
                  </a:lnTo>
                  <a:lnTo>
                    <a:pt x="14420" y="12886"/>
                  </a:lnTo>
                  <a:lnTo>
                    <a:pt x="14420" y="12784"/>
                  </a:lnTo>
                  <a:lnTo>
                    <a:pt x="14114" y="12989"/>
                  </a:lnTo>
                  <a:lnTo>
                    <a:pt x="14114" y="13295"/>
                  </a:lnTo>
                  <a:lnTo>
                    <a:pt x="14523" y="13295"/>
                  </a:lnTo>
                  <a:lnTo>
                    <a:pt x="14420" y="13398"/>
                  </a:lnTo>
                  <a:lnTo>
                    <a:pt x="12375" y="13398"/>
                  </a:lnTo>
                  <a:lnTo>
                    <a:pt x="12886" y="13091"/>
                  </a:lnTo>
                  <a:lnTo>
                    <a:pt x="11250" y="13398"/>
                  </a:lnTo>
                  <a:lnTo>
                    <a:pt x="11352" y="13398"/>
                  </a:lnTo>
                  <a:lnTo>
                    <a:pt x="9205" y="13909"/>
                  </a:lnTo>
                  <a:lnTo>
                    <a:pt x="9818" y="14216"/>
                  </a:lnTo>
                  <a:lnTo>
                    <a:pt x="9102" y="14318"/>
                  </a:lnTo>
                  <a:lnTo>
                    <a:pt x="9205" y="14523"/>
                  </a:lnTo>
                  <a:lnTo>
                    <a:pt x="9102" y="14932"/>
                  </a:lnTo>
                  <a:lnTo>
                    <a:pt x="11045" y="14932"/>
                  </a:lnTo>
                  <a:lnTo>
                    <a:pt x="11045" y="15034"/>
                  </a:lnTo>
                  <a:lnTo>
                    <a:pt x="12580" y="14625"/>
                  </a:lnTo>
                  <a:lnTo>
                    <a:pt x="12784" y="14830"/>
                  </a:lnTo>
                  <a:lnTo>
                    <a:pt x="12068" y="15034"/>
                  </a:lnTo>
                  <a:lnTo>
                    <a:pt x="11659" y="15648"/>
                  </a:lnTo>
                  <a:lnTo>
                    <a:pt x="10534" y="15852"/>
                  </a:lnTo>
                  <a:lnTo>
                    <a:pt x="8795" y="16261"/>
                  </a:lnTo>
                  <a:lnTo>
                    <a:pt x="8489" y="16159"/>
                  </a:lnTo>
                  <a:lnTo>
                    <a:pt x="7745" y="16624"/>
                  </a:lnTo>
                  <a:lnTo>
                    <a:pt x="7745" y="16624"/>
                  </a:lnTo>
                  <a:lnTo>
                    <a:pt x="5727" y="17489"/>
                  </a:lnTo>
                  <a:lnTo>
                    <a:pt x="5830" y="17489"/>
                  </a:lnTo>
                  <a:lnTo>
                    <a:pt x="5420" y="17693"/>
                  </a:lnTo>
                  <a:lnTo>
                    <a:pt x="5625" y="17693"/>
                  </a:lnTo>
                  <a:lnTo>
                    <a:pt x="5318" y="17898"/>
                  </a:lnTo>
                  <a:lnTo>
                    <a:pt x="5420" y="17898"/>
                  </a:lnTo>
                  <a:lnTo>
                    <a:pt x="5318" y="18102"/>
                  </a:lnTo>
                  <a:lnTo>
                    <a:pt x="5318" y="18102"/>
                  </a:lnTo>
                  <a:lnTo>
                    <a:pt x="5727" y="17898"/>
                  </a:lnTo>
                  <a:lnTo>
                    <a:pt x="5625" y="18000"/>
                  </a:lnTo>
                  <a:lnTo>
                    <a:pt x="5727" y="18000"/>
                  </a:lnTo>
                  <a:lnTo>
                    <a:pt x="5625" y="18102"/>
                  </a:lnTo>
                  <a:lnTo>
                    <a:pt x="5830" y="18102"/>
                  </a:lnTo>
                  <a:lnTo>
                    <a:pt x="5420" y="18205"/>
                  </a:lnTo>
                  <a:lnTo>
                    <a:pt x="6545" y="18307"/>
                  </a:lnTo>
                  <a:lnTo>
                    <a:pt x="6239" y="18307"/>
                  </a:lnTo>
                  <a:lnTo>
                    <a:pt x="6443" y="18409"/>
                  </a:lnTo>
                  <a:lnTo>
                    <a:pt x="6034" y="18614"/>
                  </a:lnTo>
                  <a:lnTo>
                    <a:pt x="6034" y="18614"/>
                  </a:lnTo>
                  <a:lnTo>
                    <a:pt x="6136" y="18409"/>
                  </a:lnTo>
                  <a:lnTo>
                    <a:pt x="5625" y="18511"/>
                  </a:lnTo>
                  <a:lnTo>
                    <a:pt x="5625" y="18307"/>
                  </a:lnTo>
                  <a:lnTo>
                    <a:pt x="4807" y="18614"/>
                  </a:lnTo>
                  <a:lnTo>
                    <a:pt x="5011" y="18614"/>
                  </a:lnTo>
                  <a:lnTo>
                    <a:pt x="5011" y="19227"/>
                  </a:lnTo>
                  <a:lnTo>
                    <a:pt x="7466" y="18511"/>
                  </a:lnTo>
                  <a:lnTo>
                    <a:pt x="7466" y="18511"/>
                  </a:lnTo>
                  <a:lnTo>
                    <a:pt x="5727" y="19943"/>
                  </a:lnTo>
                  <a:lnTo>
                    <a:pt x="5932" y="19943"/>
                  </a:lnTo>
                  <a:lnTo>
                    <a:pt x="5011" y="20352"/>
                  </a:lnTo>
                  <a:lnTo>
                    <a:pt x="6750" y="20045"/>
                  </a:lnTo>
                  <a:lnTo>
                    <a:pt x="7159" y="20352"/>
                  </a:lnTo>
                  <a:lnTo>
                    <a:pt x="8386" y="20045"/>
                  </a:lnTo>
                  <a:lnTo>
                    <a:pt x="8386" y="20045"/>
                  </a:lnTo>
                  <a:lnTo>
                    <a:pt x="7875" y="20352"/>
                  </a:lnTo>
                  <a:lnTo>
                    <a:pt x="7875" y="20352"/>
                  </a:lnTo>
                  <a:lnTo>
                    <a:pt x="9511" y="19943"/>
                  </a:lnTo>
                  <a:lnTo>
                    <a:pt x="8080" y="20761"/>
                  </a:lnTo>
                  <a:lnTo>
                    <a:pt x="8182" y="20864"/>
                  </a:lnTo>
                  <a:lnTo>
                    <a:pt x="5523" y="22193"/>
                  </a:lnTo>
                  <a:lnTo>
                    <a:pt x="5523" y="22091"/>
                  </a:lnTo>
                  <a:lnTo>
                    <a:pt x="3375" y="22909"/>
                  </a:lnTo>
                  <a:lnTo>
                    <a:pt x="3375" y="23114"/>
                  </a:lnTo>
                  <a:lnTo>
                    <a:pt x="3170" y="23011"/>
                  </a:lnTo>
                  <a:lnTo>
                    <a:pt x="2966" y="23114"/>
                  </a:lnTo>
                  <a:lnTo>
                    <a:pt x="2966" y="23114"/>
                  </a:lnTo>
                  <a:lnTo>
                    <a:pt x="3170" y="22909"/>
                  </a:lnTo>
                  <a:lnTo>
                    <a:pt x="2864" y="23011"/>
                  </a:lnTo>
                  <a:lnTo>
                    <a:pt x="2864" y="23011"/>
                  </a:lnTo>
                  <a:lnTo>
                    <a:pt x="2966" y="22909"/>
                  </a:lnTo>
                  <a:lnTo>
                    <a:pt x="1120" y="23634"/>
                  </a:lnTo>
                  <a:lnTo>
                    <a:pt x="1120" y="23634"/>
                  </a:lnTo>
                  <a:lnTo>
                    <a:pt x="1023" y="23830"/>
                  </a:lnTo>
                  <a:lnTo>
                    <a:pt x="2276" y="23472"/>
                  </a:lnTo>
                  <a:lnTo>
                    <a:pt x="2276" y="23472"/>
                  </a:lnTo>
                  <a:lnTo>
                    <a:pt x="3886" y="23114"/>
                  </a:lnTo>
                  <a:lnTo>
                    <a:pt x="3682" y="23318"/>
                  </a:lnTo>
                  <a:lnTo>
                    <a:pt x="5069" y="22823"/>
                  </a:lnTo>
                  <a:lnTo>
                    <a:pt x="5069" y="22823"/>
                  </a:lnTo>
                  <a:lnTo>
                    <a:pt x="5216" y="22602"/>
                  </a:lnTo>
                  <a:lnTo>
                    <a:pt x="5932" y="22398"/>
                  </a:lnTo>
                  <a:lnTo>
                    <a:pt x="5830" y="22398"/>
                  </a:lnTo>
                  <a:lnTo>
                    <a:pt x="10534" y="20761"/>
                  </a:lnTo>
                  <a:lnTo>
                    <a:pt x="10432" y="20761"/>
                  </a:lnTo>
                  <a:lnTo>
                    <a:pt x="11352" y="20352"/>
                  </a:lnTo>
                  <a:lnTo>
                    <a:pt x="11455" y="19943"/>
                  </a:lnTo>
                  <a:lnTo>
                    <a:pt x="12580" y="19330"/>
                  </a:lnTo>
                  <a:lnTo>
                    <a:pt x="12580" y="19432"/>
                  </a:lnTo>
                  <a:lnTo>
                    <a:pt x="12886" y="19330"/>
                  </a:lnTo>
                  <a:lnTo>
                    <a:pt x="12886" y="19227"/>
                  </a:lnTo>
                  <a:lnTo>
                    <a:pt x="17386" y="17693"/>
                  </a:lnTo>
                  <a:lnTo>
                    <a:pt x="16568" y="18102"/>
                  </a:lnTo>
                  <a:lnTo>
                    <a:pt x="16875" y="18205"/>
                  </a:lnTo>
                  <a:lnTo>
                    <a:pt x="16875" y="18307"/>
                  </a:lnTo>
                  <a:lnTo>
                    <a:pt x="14011" y="19125"/>
                  </a:lnTo>
                  <a:lnTo>
                    <a:pt x="14318" y="19330"/>
                  </a:lnTo>
                  <a:lnTo>
                    <a:pt x="13193" y="19841"/>
                  </a:lnTo>
                  <a:lnTo>
                    <a:pt x="15443" y="19227"/>
                  </a:lnTo>
                  <a:lnTo>
                    <a:pt x="15443" y="19227"/>
                  </a:lnTo>
                  <a:lnTo>
                    <a:pt x="15341" y="19330"/>
                  </a:lnTo>
                  <a:lnTo>
                    <a:pt x="15852" y="19023"/>
                  </a:lnTo>
                  <a:lnTo>
                    <a:pt x="15852" y="19125"/>
                  </a:lnTo>
                  <a:lnTo>
                    <a:pt x="17284" y="18614"/>
                  </a:lnTo>
                  <a:lnTo>
                    <a:pt x="16875" y="18614"/>
                  </a:lnTo>
                  <a:lnTo>
                    <a:pt x="17284" y="18409"/>
                  </a:lnTo>
                  <a:lnTo>
                    <a:pt x="17182" y="18409"/>
                  </a:lnTo>
                  <a:lnTo>
                    <a:pt x="17554" y="18186"/>
                  </a:lnTo>
                  <a:lnTo>
                    <a:pt x="17554" y="18186"/>
                  </a:lnTo>
                  <a:lnTo>
                    <a:pt x="18205" y="18000"/>
                  </a:lnTo>
                  <a:lnTo>
                    <a:pt x="18205" y="18000"/>
                  </a:lnTo>
                  <a:lnTo>
                    <a:pt x="17795" y="18307"/>
                  </a:lnTo>
                  <a:lnTo>
                    <a:pt x="19125" y="18102"/>
                  </a:lnTo>
                  <a:lnTo>
                    <a:pt x="18614" y="18409"/>
                  </a:lnTo>
                  <a:lnTo>
                    <a:pt x="18818" y="18409"/>
                  </a:lnTo>
                  <a:lnTo>
                    <a:pt x="18818" y="18511"/>
                  </a:lnTo>
                  <a:lnTo>
                    <a:pt x="19125" y="18511"/>
                  </a:lnTo>
                  <a:lnTo>
                    <a:pt x="18818" y="18716"/>
                  </a:lnTo>
                  <a:lnTo>
                    <a:pt x="19227" y="18716"/>
                  </a:lnTo>
                  <a:lnTo>
                    <a:pt x="19841" y="18511"/>
                  </a:lnTo>
                  <a:lnTo>
                    <a:pt x="19432" y="18920"/>
                  </a:lnTo>
                  <a:lnTo>
                    <a:pt x="19636" y="19125"/>
                  </a:lnTo>
                  <a:lnTo>
                    <a:pt x="21682" y="19023"/>
                  </a:lnTo>
                  <a:lnTo>
                    <a:pt x="21682" y="19023"/>
                  </a:lnTo>
                  <a:lnTo>
                    <a:pt x="21477" y="19227"/>
                  </a:lnTo>
                  <a:lnTo>
                    <a:pt x="23216" y="19227"/>
                  </a:lnTo>
                  <a:lnTo>
                    <a:pt x="22295" y="19534"/>
                  </a:lnTo>
                  <a:lnTo>
                    <a:pt x="22909" y="19943"/>
                  </a:lnTo>
                  <a:lnTo>
                    <a:pt x="22807" y="19943"/>
                  </a:lnTo>
                  <a:lnTo>
                    <a:pt x="23216" y="20659"/>
                  </a:lnTo>
                  <a:lnTo>
                    <a:pt x="23830" y="20659"/>
                  </a:lnTo>
                  <a:lnTo>
                    <a:pt x="23830" y="20455"/>
                  </a:lnTo>
                  <a:lnTo>
                    <a:pt x="24034" y="20352"/>
                  </a:lnTo>
                  <a:lnTo>
                    <a:pt x="23625" y="20148"/>
                  </a:lnTo>
                  <a:lnTo>
                    <a:pt x="24545" y="20045"/>
                  </a:lnTo>
                  <a:lnTo>
                    <a:pt x="24443" y="20148"/>
                  </a:lnTo>
                  <a:lnTo>
                    <a:pt x="24648" y="20148"/>
                  </a:lnTo>
                  <a:lnTo>
                    <a:pt x="24136" y="20659"/>
                  </a:lnTo>
                  <a:lnTo>
                    <a:pt x="24545" y="20761"/>
                  </a:lnTo>
                  <a:lnTo>
                    <a:pt x="25466" y="19636"/>
                  </a:lnTo>
                  <a:lnTo>
                    <a:pt x="24955" y="20557"/>
                  </a:lnTo>
                  <a:lnTo>
                    <a:pt x="25159" y="20761"/>
                  </a:lnTo>
                  <a:lnTo>
                    <a:pt x="25670" y="20557"/>
                  </a:lnTo>
                  <a:lnTo>
                    <a:pt x="25159" y="20966"/>
                  </a:lnTo>
                  <a:lnTo>
                    <a:pt x="25568" y="21170"/>
                  </a:lnTo>
                  <a:lnTo>
                    <a:pt x="24750" y="21784"/>
                  </a:lnTo>
                  <a:lnTo>
                    <a:pt x="25159" y="21886"/>
                  </a:lnTo>
                  <a:lnTo>
                    <a:pt x="25159" y="22193"/>
                  </a:lnTo>
                  <a:lnTo>
                    <a:pt x="25057" y="22295"/>
                  </a:lnTo>
                  <a:lnTo>
                    <a:pt x="25364" y="22705"/>
                  </a:lnTo>
                  <a:lnTo>
                    <a:pt x="24648" y="23114"/>
                  </a:lnTo>
                  <a:lnTo>
                    <a:pt x="24545" y="23420"/>
                  </a:lnTo>
                  <a:lnTo>
                    <a:pt x="25670" y="22807"/>
                  </a:lnTo>
                  <a:lnTo>
                    <a:pt x="24750" y="24136"/>
                  </a:lnTo>
                  <a:lnTo>
                    <a:pt x="26284" y="23011"/>
                  </a:lnTo>
                  <a:lnTo>
                    <a:pt x="26284" y="23011"/>
                  </a:lnTo>
                  <a:lnTo>
                    <a:pt x="25568" y="23830"/>
                  </a:lnTo>
                  <a:lnTo>
                    <a:pt x="25568" y="23830"/>
                  </a:lnTo>
                  <a:lnTo>
                    <a:pt x="26182" y="23318"/>
                  </a:lnTo>
                  <a:lnTo>
                    <a:pt x="26182" y="23495"/>
                  </a:lnTo>
                  <a:lnTo>
                    <a:pt x="26182" y="23495"/>
                  </a:lnTo>
                  <a:lnTo>
                    <a:pt x="24750" y="24545"/>
                  </a:lnTo>
                  <a:lnTo>
                    <a:pt x="25159" y="24648"/>
                  </a:lnTo>
                  <a:lnTo>
                    <a:pt x="24443" y="25364"/>
                  </a:lnTo>
                  <a:lnTo>
                    <a:pt x="24443" y="25568"/>
                  </a:lnTo>
                  <a:lnTo>
                    <a:pt x="25261" y="25261"/>
                  </a:lnTo>
                  <a:lnTo>
                    <a:pt x="25364" y="25159"/>
                  </a:lnTo>
                  <a:lnTo>
                    <a:pt x="25773" y="25057"/>
                  </a:lnTo>
                  <a:lnTo>
                    <a:pt x="25364" y="25261"/>
                  </a:lnTo>
                  <a:lnTo>
                    <a:pt x="25773" y="25568"/>
                  </a:lnTo>
                  <a:lnTo>
                    <a:pt x="25261" y="25261"/>
                  </a:lnTo>
                  <a:lnTo>
                    <a:pt x="24955" y="25466"/>
                  </a:lnTo>
                  <a:lnTo>
                    <a:pt x="25364" y="25977"/>
                  </a:lnTo>
                  <a:lnTo>
                    <a:pt x="24750" y="26489"/>
                  </a:lnTo>
                  <a:lnTo>
                    <a:pt x="24750" y="26489"/>
                  </a:lnTo>
                  <a:lnTo>
                    <a:pt x="25159" y="26284"/>
                  </a:lnTo>
                  <a:lnTo>
                    <a:pt x="24545" y="26693"/>
                  </a:lnTo>
                  <a:lnTo>
                    <a:pt x="24443" y="27000"/>
                  </a:lnTo>
                  <a:lnTo>
                    <a:pt x="26080" y="25977"/>
                  </a:lnTo>
                  <a:lnTo>
                    <a:pt x="25670" y="26386"/>
                  </a:lnTo>
                  <a:lnTo>
                    <a:pt x="25773" y="26795"/>
                  </a:lnTo>
                  <a:lnTo>
                    <a:pt x="25568" y="26489"/>
                  </a:lnTo>
                  <a:lnTo>
                    <a:pt x="24852" y="26795"/>
                  </a:lnTo>
                  <a:lnTo>
                    <a:pt x="24955" y="26795"/>
                  </a:lnTo>
                  <a:lnTo>
                    <a:pt x="24545" y="27307"/>
                  </a:lnTo>
                  <a:lnTo>
                    <a:pt x="25466" y="27102"/>
                  </a:lnTo>
                  <a:lnTo>
                    <a:pt x="24341" y="27614"/>
                  </a:lnTo>
                  <a:lnTo>
                    <a:pt x="25159" y="27818"/>
                  </a:lnTo>
                  <a:lnTo>
                    <a:pt x="25057" y="27920"/>
                  </a:lnTo>
                  <a:lnTo>
                    <a:pt x="25159" y="28023"/>
                  </a:lnTo>
                  <a:lnTo>
                    <a:pt x="24852" y="28125"/>
                  </a:lnTo>
                  <a:lnTo>
                    <a:pt x="25364" y="28125"/>
                  </a:lnTo>
                  <a:lnTo>
                    <a:pt x="24852" y="28227"/>
                  </a:lnTo>
                  <a:lnTo>
                    <a:pt x="25977" y="28227"/>
                  </a:lnTo>
                  <a:lnTo>
                    <a:pt x="26284" y="27920"/>
                  </a:lnTo>
                  <a:lnTo>
                    <a:pt x="25773" y="28841"/>
                  </a:lnTo>
                  <a:lnTo>
                    <a:pt x="26591" y="28636"/>
                  </a:lnTo>
                  <a:lnTo>
                    <a:pt x="26489" y="29148"/>
                  </a:lnTo>
                  <a:lnTo>
                    <a:pt x="26182" y="29352"/>
                  </a:lnTo>
                  <a:lnTo>
                    <a:pt x="26182" y="29352"/>
                  </a:lnTo>
                  <a:lnTo>
                    <a:pt x="26795" y="29148"/>
                  </a:lnTo>
                  <a:lnTo>
                    <a:pt x="26489" y="29455"/>
                  </a:lnTo>
                  <a:lnTo>
                    <a:pt x="26898" y="29455"/>
                  </a:lnTo>
                  <a:lnTo>
                    <a:pt x="26489" y="29659"/>
                  </a:lnTo>
                  <a:lnTo>
                    <a:pt x="26489" y="29864"/>
                  </a:lnTo>
                  <a:lnTo>
                    <a:pt x="26591" y="30068"/>
                  </a:lnTo>
                  <a:lnTo>
                    <a:pt x="26693" y="30068"/>
                  </a:lnTo>
                  <a:lnTo>
                    <a:pt x="26386" y="30375"/>
                  </a:lnTo>
                  <a:lnTo>
                    <a:pt x="26386" y="30682"/>
                  </a:lnTo>
                  <a:lnTo>
                    <a:pt x="26489" y="30682"/>
                  </a:lnTo>
                  <a:lnTo>
                    <a:pt x="26386" y="30784"/>
                  </a:lnTo>
                  <a:lnTo>
                    <a:pt x="26386" y="30682"/>
                  </a:lnTo>
                  <a:lnTo>
                    <a:pt x="26080" y="31295"/>
                  </a:lnTo>
                  <a:lnTo>
                    <a:pt x="25670" y="31500"/>
                  </a:lnTo>
                  <a:lnTo>
                    <a:pt x="25568" y="31602"/>
                  </a:lnTo>
                  <a:lnTo>
                    <a:pt x="25568" y="31500"/>
                  </a:lnTo>
                  <a:lnTo>
                    <a:pt x="25670" y="31500"/>
                  </a:lnTo>
                  <a:lnTo>
                    <a:pt x="26182" y="30886"/>
                  </a:lnTo>
                  <a:lnTo>
                    <a:pt x="26182" y="30886"/>
                  </a:lnTo>
                  <a:lnTo>
                    <a:pt x="25466" y="31398"/>
                  </a:lnTo>
                  <a:lnTo>
                    <a:pt x="25875" y="30989"/>
                  </a:lnTo>
                  <a:lnTo>
                    <a:pt x="25875" y="31091"/>
                  </a:lnTo>
                  <a:lnTo>
                    <a:pt x="26182" y="30682"/>
                  </a:lnTo>
                  <a:lnTo>
                    <a:pt x="24852" y="30477"/>
                  </a:lnTo>
                  <a:lnTo>
                    <a:pt x="24341" y="31909"/>
                  </a:lnTo>
                  <a:lnTo>
                    <a:pt x="24545" y="31909"/>
                  </a:lnTo>
                  <a:lnTo>
                    <a:pt x="24136" y="32420"/>
                  </a:lnTo>
                  <a:lnTo>
                    <a:pt x="24136" y="32216"/>
                  </a:lnTo>
                  <a:lnTo>
                    <a:pt x="23932" y="32523"/>
                  </a:lnTo>
                  <a:lnTo>
                    <a:pt x="24545" y="32727"/>
                  </a:lnTo>
                  <a:lnTo>
                    <a:pt x="24034" y="32625"/>
                  </a:lnTo>
                  <a:lnTo>
                    <a:pt x="21989" y="35489"/>
                  </a:lnTo>
                  <a:lnTo>
                    <a:pt x="22091" y="35489"/>
                  </a:lnTo>
                  <a:lnTo>
                    <a:pt x="20557" y="38250"/>
                  </a:lnTo>
                  <a:lnTo>
                    <a:pt x="20557" y="38148"/>
                  </a:lnTo>
                  <a:lnTo>
                    <a:pt x="20250" y="38659"/>
                  </a:lnTo>
                  <a:lnTo>
                    <a:pt x="20348" y="40709"/>
                  </a:lnTo>
                  <a:lnTo>
                    <a:pt x="20348" y="40709"/>
                  </a:lnTo>
                  <a:lnTo>
                    <a:pt x="20148" y="40909"/>
                  </a:lnTo>
                  <a:lnTo>
                    <a:pt x="20455" y="41011"/>
                  </a:lnTo>
                  <a:lnTo>
                    <a:pt x="20761" y="40807"/>
                  </a:lnTo>
                  <a:lnTo>
                    <a:pt x="21477" y="40807"/>
                  </a:lnTo>
                  <a:lnTo>
                    <a:pt x="20761" y="40909"/>
                  </a:lnTo>
                  <a:lnTo>
                    <a:pt x="20761" y="41420"/>
                  </a:lnTo>
                  <a:lnTo>
                    <a:pt x="20557" y="41114"/>
                  </a:lnTo>
                  <a:lnTo>
                    <a:pt x="20352" y="41727"/>
                  </a:lnTo>
                  <a:lnTo>
                    <a:pt x="20557" y="42341"/>
                  </a:lnTo>
                  <a:lnTo>
                    <a:pt x="20352" y="42648"/>
                  </a:lnTo>
                  <a:lnTo>
                    <a:pt x="20864" y="43875"/>
                  </a:lnTo>
                  <a:lnTo>
                    <a:pt x="20761" y="44284"/>
                  </a:lnTo>
                  <a:lnTo>
                    <a:pt x="21068" y="44591"/>
                  </a:lnTo>
                  <a:lnTo>
                    <a:pt x="21477" y="44693"/>
                  </a:lnTo>
                  <a:lnTo>
                    <a:pt x="23011" y="47250"/>
                  </a:lnTo>
                  <a:lnTo>
                    <a:pt x="22909" y="47455"/>
                  </a:lnTo>
                  <a:lnTo>
                    <a:pt x="23216" y="49295"/>
                  </a:lnTo>
                  <a:lnTo>
                    <a:pt x="23932" y="50114"/>
                  </a:lnTo>
                  <a:lnTo>
                    <a:pt x="23932" y="51341"/>
                  </a:lnTo>
                  <a:lnTo>
                    <a:pt x="24034" y="51341"/>
                  </a:lnTo>
                  <a:lnTo>
                    <a:pt x="24034" y="51545"/>
                  </a:lnTo>
                  <a:lnTo>
                    <a:pt x="23830" y="51341"/>
                  </a:lnTo>
                  <a:lnTo>
                    <a:pt x="23216" y="51443"/>
                  </a:lnTo>
                  <a:lnTo>
                    <a:pt x="23830" y="52159"/>
                  </a:lnTo>
                  <a:lnTo>
                    <a:pt x="24648" y="52364"/>
                  </a:lnTo>
                  <a:lnTo>
                    <a:pt x="25261" y="54818"/>
                  </a:lnTo>
                  <a:lnTo>
                    <a:pt x="26795" y="56455"/>
                  </a:lnTo>
                  <a:lnTo>
                    <a:pt x="26898" y="55432"/>
                  </a:lnTo>
                  <a:lnTo>
                    <a:pt x="26386" y="55227"/>
                  </a:lnTo>
                  <a:lnTo>
                    <a:pt x="25773" y="52364"/>
                  </a:lnTo>
                  <a:lnTo>
                    <a:pt x="25773" y="52670"/>
                  </a:lnTo>
                  <a:lnTo>
                    <a:pt x="25261" y="50830"/>
                  </a:lnTo>
                  <a:lnTo>
                    <a:pt x="25057" y="50727"/>
                  </a:lnTo>
                  <a:lnTo>
                    <a:pt x="24341" y="48068"/>
                  </a:lnTo>
                  <a:lnTo>
                    <a:pt x="24545" y="47250"/>
                  </a:lnTo>
                  <a:lnTo>
                    <a:pt x="25159" y="47659"/>
                  </a:lnTo>
                  <a:lnTo>
                    <a:pt x="25364" y="47557"/>
                  </a:lnTo>
                  <a:lnTo>
                    <a:pt x="25466" y="47761"/>
                  </a:lnTo>
                  <a:lnTo>
                    <a:pt x="25875" y="47966"/>
                  </a:lnTo>
                  <a:lnTo>
                    <a:pt x="26591" y="51034"/>
                  </a:lnTo>
                  <a:lnTo>
                    <a:pt x="27205" y="51341"/>
                  </a:lnTo>
                  <a:lnTo>
                    <a:pt x="27000" y="51852"/>
                  </a:lnTo>
                  <a:lnTo>
                    <a:pt x="28023" y="53080"/>
                  </a:lnTo>
                  <a:lnTo>
                    <a:pt x="27920" y="52977"/>
                  </a:lnTo>
                  <a:lnTo>
                    <a:pt x="28125" y="53591"/>
                  </a:lnTo>
                  <a:lnTo>
                    <a:pt x="27920" y="53795"/>
                  </a:lnTo>
                  <a:lnTo>
                    <a:pt x="28636" y="54307"/>
                  </a:lnTo>
                  <a:lnTo>
                    <a:pt x="28432" y="54205"/>
                  </a:lnTo>
                  <a:lnTo>
                    <a:pt x="29045" y="54920"/>
                  </a:lnTo>
                  <a:lnTo>
                    <a:pt x="28841" y="54920"/>
                  </a:lnTo>
                  <a:lnTo>
                    <a:pt x="29761" y="56148"/>
                  </a:lnTo>
                  <a:lnTo>
                    <a:pt x="30477" y="58091"/>
                  </a:lnTo>
                  <a:lnTo>
                    <a:pt x="29966" y="59216"/>
                  </a:lnTo>
                  <a:lnTo>
                    <a:pt x="37534" y="63920"/>
                  </a:lnTo>
                  <a:lnTo>
                    <a:pt x="39068" y="63307"/>
                  </a:lnTo>
                  <a:lnTo>
                    <a:pt x="39170" y="63307"/>
                  </a:lnTo>
                  <a:lnTo>
                    <a:pt x="39784" y="63614"/>
                  </a:lnTo>
                  <a:lnTo>
                    <a:pt x="39784" y="63614"/>
                  </a:lnTo>
                  <a:lnTo>
                    <a:pt x="39375" y="63307"/>
                  </a:lnTo>
                  <a:lnTo>
                    <a:pt x="39375" y="63307"/>
                  </a:lnTo>
                  <a:lnTo>
                    <a:pt x="44284" y="66375"/>
                  </a:lnTo>
                  <a:lnTo>
                    <a:pt x="45000" y="66273"/>
                  </a:lnTo>
                  <a:lnTo>
                    <a:pt x="45409" y="66682"/>
                  </a:lnTo>
                  <a:lnTo>
                    <a:pt x="45307" y="66989"/>
                  </a:lnTo>
                  <a:lnTo>
                    <a:pt x="46534" y="68830"/>
                  </a:lnTo>
                  <a:lnTo>
                    <a:pt x="46534" y="69443"/>
                  </a:lnTo>
                  <a:lnTo>
                    <a:pt x="47148" y="70159"/>
                  </a:lnTo>
                  <a:lnTo>
                    <a:pt x="47352" y="69852"/>
                  </a:lnTo>
                  <a:lnTo>
                    <a:pt x="47045" y="69443"/>
                  </a:lnTo>
                  <a:lnTo>
                    <a:pt x="47045" y="69443"/>
                  </a:lnTo>
                  <a:lnTo>
                    <a:pt x="48784" y="71386"/>
                  </a:lnTo>
                  <a:lnTo>
                    <a:pt x="48784" y="71386"/>
                  </a:lnTo>
                  <a:lnTo>
                    <a:pt x="48580" y="71080"/>
                  </a:lnTo>
                  <a:lnTo>
                    <a:pt x="49091" y="71693"/>
                  </a:lnTo>
                  <a:lnTo>
                    <a:pt x="49705" y="71489"/>
                  </a:lnTo>
                  <a:lnTo>
                    <a:pt x="50625" y="72205"/>
                  </a:lnTo>
                  <a:lnTo>
                    <a:pt x="50727" y="71898"/>
                  </a:lnTo>
                  <a:lnTo>
                    <a:pt x="51136" y="72614"/>
                  </a:lnTo>
                  <a:lnTo>
                    <a:pt x="51648" y="72307"/>
                  </a:lnTo>
                  <a:lnTo>
                    <a:pt x="51341" y="71693"/>
                  </a:lnTo>
                  <a:lnTo>
                    <a:pt x="52670" y="70773"/>
                  </a:lnTo>
                  <a:lnTo>
                    <a:pt x="53182" y="71489"/>
                  </a:lnTo>
                  <a:lnTo>
                    <a:pt x="53182" y="71284"/>
                  </a:lnTo>
                  <a:lnTo>
                    <a:pt x="53386" y="71386"/>
                  </a:lnTo>
                  <a:lnTo>
                    <a:pt x="53489" y="71284"/>
                  </a:lnTo>
                  <a:lnTo>
                    <a:pt x="53693" y="71693"/>
                  </a:lnTo>
                  <a:lnTo>
                    <a:pt x="53386" y="71386"/>
                  </a:lnTo>
                  <a:lnTo>
                    <a:pt x="53182" y="71795"/>
                  </a:lnTo>
                  <a:lnTo>
                    <a:pt x="53795" y="75682"/>
                  </a:lnTo>
                  <a:lnTo>
                    <a:pt x="53898" y="75682"/>
                  </a:lnTo>
                  <a:lnTo>
                    <a:pt x="53898" y="75989"/>
                  </a:lnTo>
                  <a:lnTo>
                    <a:pt x="54000" y="75886"/>
                  </a:lnTo>
                  <a:lnTo>
                    <a:pt x="54205" y="75989"/>
                  </a:lnTo>
                  <a:lnTo>
                    <a:pt x="53489" y="77216"/>
                  </a:lnTo>
                  <a:lnTo>
                    <a:pt x="52977" y="77523"/>
                  </a:lnTo>
                  <a:lnTo>
                    <a:pt x="52773" y="78239"/>
                  </a:lnTo>
                  <a:lnTo>
                    <a:pt x="52364" y="78341"/>
                  </a:lnTo>
                  <a:lnTo>
                    <a:pt x="52568" y="78750"/>
                  </a:lnTo>
                  <a:lnTo>
                    <a:pt x="51648" y="79159"/>
                  </a:lnTo>
                  <a:lnTo>
                    <a:pt x="51239" y="80693"/>
                  </a:lnTo>
                  <a:lnTo>
                    <a:pt x="51034" y="80591"/>
                  </a:lnTo>
                  <a:lnTo>
                    <a:pt x="50727" y="81307"/>
                  </a:lnTo>
                  <a:lnTo>
                    <a:pt x="50727" y="82227"/>
                  </a:lnTo>
                  <a:lnTo>
                    <a:pt x="51034" y="82739"/>
                  </a:lnTo>
                  <a:lnTo>
                    <a:pt x="51545" y="82432"/>
                  </a:lnTo>
                  <a:lnTo>
                    <a:pt x="51648" y="82125"/>
                  </a:lnTo>
                  <a:lnTo>
                    <a:pt x="51750" y="82841"/>
                  </a:lnTo>
                  <a:lnTo>
                    <a:pt x="50318" y="84886"/>
                  </a:lnTo>
                  <a:lnTo>
                    <a:pt x="50830" y="85909"/>
                  </a:lnTo>
                  <a:lnTo>
                    <a:pt x="50625" y="86011"/>
                  </a:lnTo>
                  <a:lnTo>
                    <a:pt x="60852" y="98693"/>
                  </a:lnTo>
                  <a:lnTo>
                    <a:pt x="61977" y="118125"/>
                  </a:lnTo>
                  <a:lnTo>
                    <a:pt x="61670" y="118330"/>
                  </a:lnTo>
                  <a:lnTo>
                    <a:pt x="63102" y="122932"/>
                  </a:lnTo>
                  <a:lnTo>
                    <a:pt x="64125" y="122625"/>
                  </a:lnTo>
                  <a:lnTo>
                    <a:pt x="63818" y="123136"/>
                  </a:lnTo>
                  <a:lnTo>
                    <a:pt x="64125" y="123136"/>
                  </a:lnTo>
                  <a:lnTo>
                    <a:pt x="64330" y="123648"/>
                  </a:lnTo>
                  <a:lnTo>
                    <a:pt x="64023" y="123648"/>
                  </a:lnTo>
                  <a:lnTo>
                    <a:pt x="64227" y="125284"/>
                  </a:lnTo>
                  <a:lnTo>
                    <a:pt x="64636" y="125489"/>
                  </a:lnTo>
                  <a:lnTo>
                    <a:pt x="64534" y="126511"/>
                  </a:lnTo>
                  <a:lnTo>
                    <a:pt x="64943" y="126716"/>
                  </a:lnTo>
                  <a:lnTo>
                    <a:pt x="64330" y="126716"/>
                  </a:lnTo>
                  <a:lnTo>
                    <a:pt x="64636" y="127432"/>
                  </a:lnTo>
                  <a:lnTo>
                    <a:pt x="64534" y="127739"/>
                  </a:lnTo>
                  <a:lnTo>
                    <a:pt x="64330" y="127023"/>
                  </a:lnTo>
                  <a:lnTo>
                    <a:pt x="64023" y="127432"/>
                  </a:lnTo>
                  <a:lnTo>
                    <a:pt x="64023" y="127432"/>
                  </a:lnTo>
                  <a:lnTo>
                    <a:pt x="64227" y="127023"/>
                  </a:lnTo>
                  <a:lnTo>
                    <a:pt x="64023" y="126614"/>
                  </a:lnTo>
                  <a:lnTo>
                    <a:pt x="64023" y="127023"/>
                  </a:lnTo>
                  <a:lnTo>
                    <a:pt x="63409" y="127125"/>
                  </a:lnTo>
                  <a:lnTo>
                    <a:pt x="63614" y="127432"/>
                  </a:lnTo>
                  <a:lnTo>
                    <a:pt x="63205" y="127943"/>
                  </a:lnTo>
                  <a:lnTo>
                    <a:pt x="63205" y="127943"/>
                  </a:lnTo>
                  <a:lnTo>
                    <a:pt x="63716" y="127739"/>
                  </a:lnTo>
                  <a:lnTo>
                    <a:pt x="64227" y="128148"/>
                  </a:lnTo>
                  <a:lnTo>
                    <a:pt x="64227" y="128045"/>
                  </a:lnTo>
                  <a:lnTo>
                    <a:pt x="64534" y="128250"/>
                  </a:lnTo>
                  <a:lnTo>
                    <a:pt x="64534" y="128455"/>
                  </a:lnTo>
                  <a:lnTo>
                    <a:pt x="64432" y="128659"/>
                  </a:lnTo>
                  <a:lnTo>
                    <a:pt x="64636" y="129068"/>
                  </a:lnTo>
                  <a:lnTo>
                    <a:pt x="65148" y="128864"/>
                  </a:lnTo>
                  <a:lnTo>
                    <a:pt x="65557" y="129477"/>
                  </a:lnTo>
                  <a:lnTo>
                    <a:pt x="64534" y="129273"/>
                  </a:lnTo>
                  <a:lnTo>
                    <a:pt x="65148" y="129682"/>
                  </a:lnTo>
                  <a:lnTo>
                    <a:pt x="65455" y="130705"/>
                  </a:lnTo>
                  <a:lnTo>
                    <a:pt x="65352" y="130295"/>
                  </a:lnTo>
                  <a:lnTo>
                    <a:pt x="65455" y="130295"/>
                  </a:lnTo>
                  <a:lnTo>
                    <a:pt x="65864" y="131216"/>
                  </a:lnTo>
                  <a:lnTo>
                    <a:pt x="65352" y="131420"/>
                  </a:lnTo>
                  <a:lnTo>
                    <a:pt x="66068" y="131727"/>
                  </a:lnTo>
                  <a:lnTo>
                    <a:pt x="65864" y="131727"/>
                  </a:lnTo>
                  <a:lnTo>
                    <a:pt x="66170" y="132034"/>
                  </a:lnTo>
                  <a:lnTo>
                    <a:pt x="66273" y="131727"/>
                  </a:lnTo>
                  <a:lnTo>
                    <a:pt x="66375" y="131932"/>
                  </a:lnTo>
                  <a:lnTo>
                    <a:pt x="66375" y="132239"/>
                  </a:lnTo>
                  <a:lnTo>
                    <a:pt x="66170" y="132034"/>
                  </a:lnTo>
                  <a:lnTo>
                    <a:pt x="65557" y="131625"/>
                  </a:lnTo>
                  <a:lnTo>
                    <a:pt x="65250" y="131932"/>
                  </a:lnTo>
                  <a:lnTo>
                    <a:pt x="67193" y="133261"/>
                  </a:lnTo>
                  <a:lnTo>
                    <a:pt x="67398" y="133159"/>
                  </a:lnTo>
                  <a:lnTo>
                    <a:pt x="67091" y="132750"/>
                  </a:lnTo>
                  <a:lnTo>
                    <a:pt x="67705" y="133057"/>
                  </a:lnTo>
                  <a:lnTo>
                    <a:pt x="67398" y="133159"/>
                  </a:lnTo>
                  <a:lnTo>
                    <a:pt x="67500" y="133261"/>
                  </a:lnTo>
                  <a:lnTo>
                    <a:pt x="67602" y="133159"/>
                  </a:lnTo>
                  <a:lnTo>
                    <a:pt x="67807" y="133568"/>
                  </a:lnTo>
                  <a:lnTo>
                    <a:pt x="67807" y="133568"/>
                  </a:lnTo>
                  <a:lnTo>
                    <a:pt x="67500" y="133261"/>
                  </a:lnTo>
                  <a:lnTo>
                    <a:pt x="67295" y="133364"/>
                  </a:lnTo>
                  <a:lnTo>
                    <a:pt x="66477" y="133364"/>
                  </a:lnTo>
                  <a:lnTo>
                    <a:pt x="66886" y="133773"/>
                  </a:lnTo>
                  <a:lnTo>
                    <a:pt x="67500" y="133670"/>
                  </a:lnTo>
                  <a:lnTo>
                    <a:pt x="67295" y="134080"/>
                  </a:lnTo>
                  <a:lnTo>
                    <a:pt x="67705" y="134284"/>
                  </a:lnTo>
                  <a:lnTo>
                    <a:pt x="67807" y="134080"/>
                  </a:lnTo>
                  <a:lnTo>
                    <a:pt x="67926" y="134000"/>
                  </a:lnTo>
                  <a:lnTo>
                    <a:pt x="67926" y="134000"/>
                  </a:lnTo>
                  <a:lnTo>
                    <a:pt x="68420" y="134693"/>
                  </a:lnTo>
                  <a:lnTo>
                    <a:pt x="69136" y="133977"/>
                  </a:lnTo>
                  <a:lnTo>
                    <a:pt x="69136" y="134284"/>
                  </a:lnTo>
                  <a:lnTo>
                    <a:pt x="68932" y="134489"/>
                  </a:lnTo>
                  <a:lnTo>
                    <a:pt x="68932" y="134693"/>
                  </a:lnTo>
                  <a:lnTo>
                    <a:pt x="68727" y="134795"/>
                  </a:lnTo>
                  <a:lnTo>
                    <a:pt x="69750" y="134795"/>
                  </a:lnTo>
                  <a:lnTo>
                    <a:pt x="69545" y="134182"/>
                  </a:lnTo>
                  <a:lnTo>
                    <a:pt x="69767" y="133988"/>
                  </a:lnTo>
                  <a:lnTo>
                    <a:pt x="69767" y="133988"/>
                  </a:lnTo>
                  <a:lnTo>
                    <a:pt x="70057" y="134182"/>
                  </a:lnTo>
                  <a:lnTo>
                    <a:pt x="69852" y="134284"/>
                  </a:lnTo>
                  <a:lnTo>
                    <a:pt x="70568" y="134591"/>
                  </a:lnTo>
                  <a:lnTo>
                    <a:pt x="70364" y="135000"/>
                  </a:lnTo>
                  <a:lnTo>
                    <a:pt x="71489" y="135614"/>
                  </a:lnTo>
                  <a:lnTo>
                    <a:pt x="71386" y="135716"/>
                  </a:lnTo>
                  <a:lnTo>
                    <a:pt x="70159" y="135205"/>
                  </a:lnTo>
                  <a:lnTo>
                    <a:pt x="70364" y="135205"/>
                  </a:lnTo>
                  <a:lnTo>
                    <a:pt x="70057" y="135000"/>
                  </a:lnTo>
                  <a:lnTo>
                    <a:pt x="69955" y="135102"/>
                  </a:lnTo>
                  <a:lnTo>
                    <a:pt x="70568" y="135716"/>
                  </a:lnTo>
                  <a:lnTo>
                    <a:pt x="70057" y="135511"/>
                  </a:lnTo>
                  <a:lnTo>
                    <a:pt x="69443" y="135716"/>
                  </a:lnTo>
                  <a:lnTo>
                    <a:pt x="69545" y="135818"/>
                  </a:lnTo>
                  <a:lnTo>
                    <a:pt x="73943" y="136125"/>
                  </a:lnTo>
                  <a:lnTo>
                    <a:pt x="74557" y="135818"/>
                  </a:lnTo>
                  <a:lnTo>
                    <a:pt x="71489" y="134489"/>
                  </a:lnTo>
                  <a:lnTo>
                    <a:pt x="71591" y="134284"/>
                  </a:lnTo>
                  <a:lnTo>
                    <a:pt x="71080" y="133875"/>
                  </a:lnTo>
                  <a:lnTo>
                    <a:pt x="69782" y="133975"/>
                  </a:lnTo>
                  <a:lnTo>
                    <a:pt x="69782" y="133975"/>
                  </a:lnTo>
                  <a:lnTo>
                    <a:pt x="70364" y="133466"/>
                  </a:lnTo>
                  <a:lnTo>
                    <a:pt x="71080" y="133568"/>
                  </a:lnTo>
                  <a:lnTo>
                    <a:pt x="71080" y="133568"/>
                  </a:lnTo>
                  <a:lnTo>
                    <a:pt x="70057" y="132852"/>
                  </a:lnTo>
                  <a:lnTo>
                    <a:pt x="70364" y="132750"/>
                  </a:lnTo>
                  <a:lnTo>
                    <a:pt x="69852" y="132341"/>
                  </a:lnTo>
                  <a:lnTo>
                    <a:pt x="70159" y="131318"/>
                  </a:lnTo>
                  <a:lnTo>
                    <a:pt x="69750" y="131216"/>
                  </a:lnTo>
                  <a:lnTo>
                    <a:pt x="69955" y="131216"/>
                  </a:lnTo>
                  <a:lnTo>
                    <a:pt x="69955" y="131011"/>
                  </a:lnTo>
                  <a:lnTo>
                    <a:pt x="70670" y="131216"/>
                  </a:lnTo>
                  <a:lnTo>
                    <a:pt x="70670" y="131216"/>
                  </a:lnTo>
                  <a:lnTo>
                    <a:pt x="70466" y="130500"/>
                  </a:lnTo>
                  <a:lnTo>
                    <a:pt x="71591" y="129170"/>
                  </a:lnTo>
                  <a:lnTo>
                    <a:pt x="71182" y="129068"/>
                  </a:lnTo>
                  <a:lnTo>
                    <a:pt x="71284" y="128455"/>
                  </a:lnTo>
                  <a:lnTo>
                    <a:pt x="69443" y="127330"/>
                  </a:lnTo>
                  <a:lnTo>
                    <a:pt x="69852" y="126409"/>
                  </a:lnTo>
                  <a:lnTo>
                    <a:pt x="70159" y="126205"/>
                  </a:lnTo>
                  <a:lnTo>
                    <a:pt x="70670" y="126205"/>
                  </a:lnTo>
                  <a:lnTo>
                    <a:pt x="70568" y="124670"/>
                  </a:lnTo>
                  <a:lnTo>
                    <a:pt x="71182" y="124159"/>
                  </a:lnTo>
                  <a:lnTo>
                    <a:pt x="70568" y="123852"/>
                  </a:lnTo>
                  <a:lnTo>
                    <a:pt x="70977" y="123750"/>
                  </a:lnTo>
                  <a:lnTo>
                    <a:pt x="71284" y="124057"/>
                  </a:lnTo>
                  <a:lnTo>
                    <a:pt x="71284" y="124057"/>
                  </a:lnTo>
                  <a:lnTo>
                    <a:pt x="70977" y="123443"/>
                  </a:lnTo>
                  <a:lnTo>
                    <a:pt x="70773" y="123545"/>
                  </a:lnTo>
                  <a:lnTo>
                    <a:pt x="70364" y="123239"/>
                  </a:lnTo>
                  <a:lnTo>
                    <a:pt x="69955" y="122318"/>
                  </a:lnTo>
                  <a:lnTo>
                    <a:pt x="70057" y="122011"/>
                  </a:lnTo>
                  <a:lnTo>
                    <a:pt x="71182" y="122318"/>
                  </a:lnTo>
                  <a:lnTo>
                    <a:pt x="72205" y="122011"/>
                  </a:lnTo>
                  <a:lnTo>
                    <a:pt x="72000" y="121193"/>
                  </a:lnTo>
                  <a:lnTo>
                    <a:pt x="72102" y="120886"/>
                  </a:lnTo>
                  <a:lnTo>
                    <a:pt x="71898" y="120580"/>
                  </a:lnTo>
                  <a:lnTo>
                    <a:pt x="72000" y="120580"/>
                  </a:lnTo>
                  <a:lnTo>
                    <a:pt x="71693" y="120170"/>
                  </a:lnTo>
                  <a:lnTo>
                    <a:pt x="75477" y="119250"/>
                  </a:lnTo>
                  <a:lnTo>
                    <a:pt x="75886" y="117716"/>
                  </a:lnTo>
                  <a:lnTo>
                    <a:pt x="73739" y="114545"/>
                  </a:lnTo>
                  <a:lnTo>
                    <a:pt x="73739" y="114034"/>
                  </a:lnTo>
                  <a:lnTo>
                    <a:pt x="73943" y="114034"/>
                  </a:lnTo>
                  <a:lnTo>
                    <a:pt x="73841" y="113420"/>
                  </a:lnTo>
                  <a:lnTo>
                    <a:pt x="74045" y="113932"/>
                  </a:lnTo>
                  <a:lnTo>
                    <a:pt x="73841" y="114341"/>
                  </a:lnTo>
                  <a:lnTo>
                    <a:pt x="74557" y="115466"/>
                  </a:lnTo>
                  <a:lnTo>
                    <a:pt x="77216" y="115875"/>
                  </a:lnTo>
                  <a:lnTo>
                    <a:pt x="79466" y="111580"/>
                  </a:lnTo>
                  <a:lnTo>
                    <a:pt x="79568" y="111682"/>
                  </a:lnTo>
                  <a:lnTo>
                    <a:pt x="79568" y="111273"/>
                  </a:lnTo>
                  <a:lnTo>
                    <a:pt x="79466" y="110966"/>
                  </a:lnTo>
                  <a:lnTo>
                    <a:pt x="79773" y="111273"/>
                  </a:lnTo>
                  <a:lnTo>
                    <a:pt x="79875" y="111273"/>
                  </a:lnTo>
                  <a:lnTo>
                    <a:pt x="79364" y="112500"/>
                  </a:lnTo>
                  <a:lnTo>
                    <a:pt x="79773" y="112193"/>
                  </a:lnTo>
                  <a:lnTo>
                    <a:pt x="80080" y="111170"/>
                  </a:lnTo>
                  <a:lnTo>
                    <a:pt x="79875" y="111273"/>
                  </a:lnTo>
                  <a:lnTo>
                    <a:pt x="79875" y="111273"/>
                  </a:lnTo>
                  <a:lnTo>
                    <a:pt x="81409" y="107898"/>
                  </a:lnTo>
                  <a:lnTo>
                    <a:pt x="81102" y="106159"/>
                  </a:lnTo>
                  <a:lnTo>
                    <a:pt x="81614" y="106057"/>
                  </a:lnTo>
                  <a:lnTo>
                    <a:pt x="81511" y="106159"/>
                  </a:lnTo>
                  <a:lnTo>
                    <a:pt x="85398" y="103705"/>
                  </a:lnTo>
                  <a:lnTo>
                    <a:pt x="85807" y="103602"/>
                  </a:lnTo>
                  <a:lnTo>
                    <a:pt x="85909" y="103398"/>
                  </a:lnTo>
                  <a:lnTo>
                    <a:pt x="86114" y="103705"/>
                  </a:lnTo>
                  <a:lnTo>
                    <a:pt x="86830" y="103602"/>
                  </a:lnTo>
                  <a:lnTo>
                    <a:pt x="86932" y="103091"/>
                  </a:lnTo>
                  <a:lnTo>
                    <a:pt x="87750" y="102580"/>
                  </a:lnTo>
                  <a:lnTo>
                    <a:pt x="89080" y="94398"/>
                  </a:lnTo>
                  <a:lnTo>
                    <a:pt x="89080" y="93170"/>
                  </a:lnTo>
                  <a:lnTo>
                    <a:pt x="89284" y="93068"/>
                  </a:lnTo>
                  <a:lnTo>
                    <a:pt x="89489" y="93375"/>
                  </a:lnTo>
                  <a:lnTo>
                    <a:pt x="90409" y="91534"/>
                  </a:lnTo>
                  <a:lnTo>
                    <a:pt x="90409" y="91739"/>
                  </a:lnTo>
                  <a:lnTo>
                    <a:pt x="92557" y="87136"/>
                  </a:lnTo>
                  <a:lnTo>
                    <a:pt x="91943" y="85398"/>
                  </a:lnTo>
                  <a:lnTo>
                    <a:pt x="84273" y="82739"/>
                  </a:lnTo>
                  <a:lnTo>
                    <a:pt x="84068" y="82943"/>
                  </a:lnTo>
                  <a:lnTo>
                    <a:pt x="83966" y="82534"/>
                  </a:lnTo>
                  <a:lnTo>
                    <a:pt x="83557" y="83352"/>
                  </a:lnTo>
                  <a:lnTo>
                    <a:pt x="83557" y="83352"/>
                  </a:lnTo>
                  <a:lnTo>
                    <a:pt x="83659" y="82636"/>
                  </a:lnTo>
                  <a:lnTo>
                    <a:pt x="83557" y="82330"/>
                  </a:lnTo>
                  <a:lnTo>
                    <a:pt x="83557" y="81818"/>
                  </a:lnTo>
                  <a:lnTo>
                    <a:pt x="80591" y="80795"/>
                  </a:lnTo>
                  <a:lnTo>
                    <a:pt x="79057" y="82739"/>
                  </a:lnTo>
                  <a:lnTo>
                    <a:pt x="79364" y="81818"/>
                  </a:lnTo>
                  <a:lnTo>
                    <a:pt x="78341" y="82125"/>
                  </a:lnTo>
                  <a:lnTo>
                    <a:pt x="77932" y="81307"/>
                  </a:lnTo>
                  <a:lnTo>
                    <a:pt x="77625" y="81205"/>
                  </a:lnTo>
                  <a:lnTo>
                    <a:pt x="77011" y="81614"/>
                  </a:lnTo>
                  <a:lnTo>
                    <a:pt x="76295" y="81614"/>
                  </a:lnTo>
                  <a:lnTo>
                    <a:pt x="78852" y="78750"/>
                  </a:lnTo>
                  <a:lnTo>
                    <a:pt x="77216" y="75375"/>
                  </a:lnTo>
                  <a:lnTo>
                    <a:pt x="77011" y="75580"/>
                  </a:lnTo>
                  <a:lnTo>
                    <a:pt x="76807" y="75068"/>
                  </a:lnTo>
                  <a:lnTo>
                    <a:pt x="76705" y="75170"/>
                  </a:lnTo>
                  <a:lnTo>
                    <a:pt x="75273" y="74148"/>
                  </a:lnTo>
                  <a:lnTo>
                    <a:pt x="75068" y="74557"/>
                  </a:lnTo>
                  <a:lnTo>
                    <a:pt x="74455" y="73841"/>
                  </a:lnTo>
                  <a:lnTo>
                    <a:pt x="73432" y="74148"/>
                  </a:lnTo>
                  <a:lnTo>
                    <a:pt x="72614" y="73943"/>
                  </a:lnTo>
                  <a:lnTo>
                    <a:pt x="72307" y="74352"/>
                  </a:lnTo>
                  <a:lnTo>
                    <a:pt x="72307" y="73739"/>
                  </a:lnTo>
                  <a:lnTo>
                    <a:pt x="71284" y="72920"/>
                  </a:lnTo>
                  <a:lnTo>
                    <a:pt x="70977" y="73432"/>
                  </a:lnTo>
                  <a:lnTo>
                    <a:pt x="70977" y="73432"/>
                  </a:lnTo>
                  <a:lnTo>
                    <a:pt x="71080" y="72307"/>
                  </a:lnTo>
                  <a:lnTo>
                    <a:pt x="69852" y="71284"/>
                  </a:lnTo>
                  <a:lnTo>
                    <a:pt x="68420" y="71182"/>
                  </a:lnTo>
                  <a:lnTo>
                    <a:pt x="68830" y="70875"/>
                  </a:lnTo>
                  <a:lnTo>
                    <a:pt x="69034" y="70568"/>
                  </a:lnTo>
                  <a:lnTo>
                    <a:pt x="68932" y="70159"/>
                  </a:lnTo>
                  <a:lnTo>
                    <a:pt x="68420" y="69852"/>
                  </a:lnTo>
                  <a:lnTo>
                    <a:pt x="68318" y="69955"/>
                  </a:lnTo>
                  <a:lnTo>
                    <a:pt x="68318" y="70159"/>
                  </a:lnTo>
                  <a:lnTo>
                    <a:pt x="67909" y="69852"/>
                  </a:lnTo>
                  <a:lnTo>
                    <a:pt x="67807" y="69955"/>
                  </a:lnTo>
                  <a:lnTo>
                    <a:pt x="67602" y="69545"/>
                  </a:lnTo>
                  <a:lnTo>
                    <a:pt x="67398" y="69648"/>
                  </a:lnTo>
                  <a:lnTo>
                    <a:pt x="67295" y="69239"/>
                  </a:lnTo>
                  <a:lnTo>
                    <a:pt x="68216" y="69034"/>
                  </a:lnTo>
                  <a:lnTo>
                    <a:pt x="66068" y="69136"/>
                  </a:lnTo>
                  <a:lnTo>
                    <a:pt x="66068" y="69239"/>
                  </a:lnTo>
                  <a:lnTo>
                    <a:pt x="66580" y="69239"/>
                  </a:lnTo>
                  <a:lnTo>
                    <a:pt x="65045" y="69648"/>
                  </a:lnTo>
                  <a:lnTo>
                    <a:pt x="64636" y="69443"/>
                  </a:lnTo>
                  <a:lnTo>
                    <a:pt x="64432" y="69136"/>
                  </a:lnTo>
                  <a:lnTo>
                    <a:pt x="62489" y="69136"/>
                  </a:lnTo>
                  <a:lnTo>
                    <a:pt x="62284" y="68523"/>
                  </a:lnTo>
                  <a:lnTo>
                    <a:pt x="61466" y="68216"/>
                  </a:lnTo>
                  <a:lnTo>
                    <a:pt x="61159" y="67705"/>
                  </a:lnTo>
                  <a:lnTo>
                    <a:pt x="60750" y="67705"/>
                  </a:lnTo>
                  <a:lnTo>
                    <a:pt x="61159" y="68114"/>
                  </a:lnTo>
                  <a:lnTo>
                    <a:pt x="59727" y="68727"/>
                  </a:lnTo>
                  <a:lnTo>
                    <a:pt x="59523" y="69239"/>
                  </a:lnTo>
                  <a:lnTo>
                    <a:pt x="59932" y="70057"/>
                  </a:lnTo>
                  <a:lnTo>
                    <a:pt x="59625" y="70670"/>
                  </a:lnTo>
                  <a:lnTo>
                    <a:pt x="59216" y="70364"/>
                  </a:lnTo>
                  <a:lnTo>
                    <a:pt x="59114" y="69648"/>
                  </a:lnTo>
                  <a:lnTo>
                    <a:pt x="59420" y="69239"/>
                  </a:lnTo>
                  <a:lnTo>
                    <a:pt x="59318" y="68727"/>
                  </a:lnTo>
                  <a:lnTo>
                    <a:pt x="59420" y="68727"/>
                  </a:lnTo>
                  <a:lnTo>
                    <a:pt x="59216" y="68114"/>
                  </a:lnTo>
                  <a:lnTo>
                    <a:pt x="59830" y="67807"/>
                  </a:lnTo>
                  <a:lnTo>
                    <a:pt x="59625" y="67295"/>
                  </a:lnTo>
                  <a:lnTo>
                    <a:pt x="56966" y="68932"/>
                  </a:lnTo>
                  <a:lnTo>
                    <a:pt x="56966" y="68727"/>
                  </a:lnTo>
                  <a:lnTo>
                    <a:pt x="56557" y="68625"/>
                  </a:lnTo>
                  <a:lnTo>
                    <a:pt x="55739" y="69648"/>
                  </a:lnTo>
                  <a:lnTo>
                    <a:pt x="55841" y="69545"/>
                  </a:lnTo>
                  <a:lnTo>
                    <a:pt x="55534" y="70364"/>
                  </a:lnTo>
                  <a:lnTo>
                    <a:pt x="54614" y="71182"/>
                  </a:lnTo>
                  <a:lnTo>
                    <a:pt x="54511" y="71898"/>
                  </a:lnTo>
                  <a:lnTo>
                    <a:pt x="52977" y="70364"/>
                  </a:lnTo>
                  <a:lnTo>
                    <a:pt x="52057" y="70261"/>
                  </a:lnTo>
                  <a:lnTo>
                    <a:pt x="51034" y="70875"/>
                  </a:lnTo>
                  <a:lnTo>
                    <a:pt x="50011" y="70670"/>
                  </a:lnTo>
                  <a:lnTo>
                    <a:pt x="50011" y="70670"/>
                  </a:lnTo>
                  <a:lnTo>
                    <a:pt x="50114" y="70875"/>
                  </a:lnTo>
                  <a:lnTo>
                    <a:pt x="48375" y="68420"/>
                  </a:lnTo>
                  <a:lnTo>
                    <a:pt x="48580" y="67602"/>
                  </a:lnTo>
                  <a:lnTo>
                    <a:pt x="48682" y="67705"/>
                  </a:lnTo>
                  <a:lnTo>
                    <a:pt x="48784" y="66989"/>
                  </a:lnTo>
                  <a:lnTo>
                    <a:pt x="48784" y="67193"/>
                  </a:lnTo>
                  <a:lnTo>
                    <a:pt x="49193" y="64739"/>
                  </a:lnTo>
                  <a:lnTo>
                    <a:pt x="48989" y="64330"/>
                  </a:lnTo>
                  <a:lnTo>
                    <a:pt x="48580" y="64125"/>
                  </a:lnTo>
                  <a:lnTo>
                    <a:pt x="48886" y="64227"/>
                  </a:lnTo>
                  <a:lnTo>
                    <a:pt x="48273" y="63716"/>
                  </a:lnTo>
                  <a:lnTo>
                    <a:pt x="44284" y="63614"/>
                  </a:lnTo>
                  <a:lnTo>
                    <a:pt x="45000" y="62795"/>
                  </a:lnTo>
                  <a:lnTo>
                    <a:pt x="45102" y="61159"/>
                  </a:lnTo>
                  <a:lnTo>
                    <a:pt x="45409" y="60648"/>
                  </a:lnTo>
                  <a:lnTo>
                    <a:pt x="45511" y="61261"/>
                  </a:lnTo>
                  <a:lnTo>
                    <a:pt x="46023" y="60136"/>
                  </a:lnTo>
                  <a:lnTo>
                    <a:pt x="45818" y="60239"/>
                  </a:lnTo>
                  <a:lnTo>
                    <a:pt x="46125" y="59932"/>
                  </a:lnTo>
                  <a:lnTo>
                    <a:pt x="46125" y="59625"/>
                  </a:lnTo>
                  <a:lnTo>
                    <a:pt x="46534" y="58807"/>
                  </a:lnTo>
                  <a:lnTo>
                    <a:pt x="46432" y="57989"/>
                  </a:lnTo>
                  <a:lnTo>
                    <a:pt x="43875" y="58295"/>
                  </a:lnTo>
                  <a:lnTo>
                    <a:pt x="42955" y="60239"/>
                  </a:lnTo>
                  <a:lnTo>
                    <a:pt x="42341" y="60648"/>
                  </a:lnTo>
                  <a:lnTo>
                    <a:pt x="42545" y="60648"/>
                  </a:lnTo>
                  <a:lnTo>
                    <a:pt x="42443" y="60955"/>
                  </a:lnTo>
                  <a:lnTo>
                    <a:pt x="39477" y="61261"/>
                  </a:lnTo>
                  <a:lnTo>
                    <a:pt x="38557" y="60750"/>
                  </a:lnTo>
                  <a:lnTo>
                    <a:pt x="38557" y="60750"/>
                  </a:lnTo>
                  <a:lnTo>
                    <a:pt x="38659" y="60852"/>
                  </a:lnTo>
                  <a:lnTo>
                    <a:pt x="38659" y="60852"/>
                  </a:lnTo>
                  <a:lnTo>
                    <a:pt x="38352" y="60648"/>
                  </a:lnTo>
                  <a:lnTo>
                    <a:pt x="38352" y="60648"/>
                  </a:lnTo>
                  <a:lnTo>
                    <a:pt x="38557" y="60750"/>
                  </a:lnTo>
                  <a:lnTo>
                    <a:pt x="37432" y="57989"/>
                  </a:lnTo>
                  <a:lnTo>
                    <a:pt x="37432" y="58193"/>
                  </a:lnTo>
                  <a:lnTo>
                    <a:pt x="37227" y="57375"/>
                  </a:lnTo>
                  <a:lnTo>
                    <a:pt x="37432" y="57989"/>
                  </a:lnTo>
                  <a:lnTo>
                    <a:pt x="38455" y="52159"/>
                  </a:lnTo>
                  <a:lnTo>
                    <a:pt x="38250" y="51750"/>
                  </a:lnTo>
                  <a:lnTo>
                    <a:pt x="38761" y="51545"/>
                  </a:lnTo>
                  <a:lnTo>
                    <a:pt x="38761" y="51341"/>
                  </a:lnTo>
                  <a:lnTo>
                    <a:pt x="39068" y="51136"/>
                  </a:lnTo>
                  <a:lnTo>
                    <a:pt x="38966" y="51136"/>
                  </a:lnTo>
                  <a:lnTo>
                    <a:pt x="39170" y="51034"/>
                  </a:lnTo>
                  <a:lnTo>
                    <a:pt x="39375" y="50830"/>
                  </a:lnTo>
                  <a:lnTo>
                    <a:pt x="39682" y="50727"/>
                  </a:lnTo>
                  <a:lnTo>
                    <a:pt x="39580" y="50523"/>
                  </a:lnTo>
                  <a:lnTo>
                    <a:pt x="40091" y="50625"/>
                  </a:lnTo>
                  <a:lnTo>
                    <a:pt x="41216" y="49909"/>
                  </a:lnTo>
                  <a:lnTo>
                    <a:pt x="41216" y="49705"/>
                  </a:lnTo>
                  <a:lnTo>
                    <a:pt x="41420" y="49398"/>
                  </a:lnTo>
                  <a:lnTo>
                    <a:pt x="41420" y="49602"/>
                  </a:lnTo>
                  <a:lnTo>
                    <a:pt x="41625" y="49602"/>
                  </a:lnTo>
                  <a:lnTo>
                    <a:pt x="41318" y="49807"/>
                  </a:lnTo>
                  <a:lnTo>
                    <a:pt x="42341" y="49193"/>
                  </a:lnTo>
                  <a:lnTo>
                    <a:pt x="43773" y="49602"/>
                  </a:lnTo>
                  <a:lnTo>
                    <a:pt x="43977" y="49398"/>
                  </a:lnTo>
                  <a:lnTo>
                    <a:pt x="44489" y="49602"/>
                  </a:lnTo>
                  <a:lnTo>
                    <a:pt x="44489" y="49909"/>
                  </a:lnTo>
                  <a:lnTo>
                    <a:pt x="44386" y="49909"/>
                  </a:lnTo>
                  <a:lnTo>
                    <a:pt x="45205" y="50114"/>
                  </a:lnTo>
                  <a:lnTo>
                    <a:pt x="45409" y="49705"/>
                  </a:lnTo>
                  <a:lnTo>
                    <a:pt x="45920" y="50216"/>
                  </a:lnTo>
                  <a:lnTo>
                    <a:pt x="46125" y="50216"/>
                  </a:lnTo>
                  <a:lnTo>
                    <a:pt x="45818" y="49705"/>
                  </a:lnTo>
                  <a:lnTo>
                    <a:pt x="46227" y="49091"/>
                  </a:lnTo>
                  <a:lnTo>
                    <a:pt x="46227" y="49091"/>
                  </a:lnTo>
                  <a:lnTo>
                    <a:pt x="45920" y="49295"/>
                  </a:lnTo>
                  <a:lnTo>
                    <a:pt x="46023" y="48989"/>
                  </a:lnTo>
                  <a:lnTo>
                    <a:pt x="45307" y="49091"/>
                  </a:lnTo>
                  <a:lnTo>
                    <a:pt x="47557" y="48477"/>
                  </a:lnTo>
                  <a:lnTo>
                    <a:pt x="47557" y="48477"/>
                  </a:lnTo>
                  <a:lnTo>
                    <a:pt x="47455" y="48989"/>
                  </a:lnTo>
                  <a:lnTo>
                    <a:pt x="47966" y="48784"/>
                  </a:lnTo>
                  <a:lnTo>
                    <a:pt x="47966" y="48886"/>
                  </a:lnTo>
                  <a:lnTo>
                    <a:pt x="48477" y="48580"/>
                  </a:lnTo>
                  <a:lnTo>
                    <a:pt x="48477" y="48580"/>
                  </a:lnTo>
                  <a:lnTo>
                    <a:pt x="48170" y="48886"/>
                  </a:lnTo>
                  <a:lnTo>
                    <a:pt x="48886" y="48784"/>
                  </a:lnTo>
                  <a:lnTo>
                    <a:pt x="49602" y="48886"/>
                  </a:lnTo>
                  <a:lnTo>
                    <a:pt x="49500" y="49091"/>
                  </a:lnTo>
                  <a:lnTo>
                    <a:pt x="49655" y="49401"/>
                  </a:lnTo>
                  <a:lnTo>
                    <a:pt x="49655" y="49401"/>
                  </a:lnTo>
                  <a:lnTo>
                    <a:pt x="51239" y="49500"/>
                  </a:lnTo>
                  <a:lnTo>
                    <a:pt x="51750" y="50216"/>
                  </a:lnTo>
                  <a:lnTo>
                    <a:pt x="51443" y="51545"/>
                  </a:lnTo>
                  <a:lnTo>
                    <a:pt x="51648" y="51239"/>
                  </a:lnTo>
                  <a:lnTo>
                    <a:pt x="51852" y="51341"/>
                  </a:lnTo>
                  <a:lnTo>
                    <a:pt x="51443" y="51750"/>
                  </a:lnTo>
                  <a:lnTo>
                    <a:pt x="52670" y="54102"/>
                  </a:lnTo>
                  <a:lnTo>
                    <a:pt x="52875" y="54102"/>
                  </a:lnTo>
                  <a:lnTo>
                    <a:pt x="53485" y="53390"/>
                  </a:lnTo>
                  <a:lnTo>
                    <a:pt x="53485" y="53390"/>
                  </a:lnTo>
                  <a:lnTo>
                    <a:pt x="53403" y="50915"/>
                  </a:lnTo>
                  <a:lnTo>
                    <a:pt x="53591" y="50727"/>
                  </a:lnTo>
                  <a:lnTo>
                    <a:pt x="53489" y="47761"/>
                  </a:lnTo>
                  <a:lnTo>
                    <a:pt x="53693" y="47659"/>
                  </a:lnTo>
                  <a:lnTo>
                    <a:pt x="54307" y="46636"/>
                  </a:lnTo>
                  <a:lnTo>
                    <a:pt x="54307" y="46841"/>
                  </a:lnTo>
                  <a:lnTo>
                    <a:pt x="54409" y="46739"/>
                  </a:lnTo>
                  <a:lnTo>
                    <a:pt x="54409" y="46636"/>
                  </a:lnTo>
                  <a:lnTo>
                    <a:pt x="55841" y="45716"/>
                  </a:lnTo>
                  <a:lnTo>
                    <a:pt x="55841" y="45818"/>
                  </a:lnTo>
                  <a:lnTo>
                    <a:pt x="57170" y="44898"/>
                  </a:lnTo>
                  <a:lnTo>
                    <a:pt x="57170" y="45102"/>
                  </a:lnTo>
                  <a:lnTo>
                    <a:pt x="57784" y="44284"/>
                  </a:lnTo>
                  <a:lnTo>
                    <a:pt x="58705" y="44080"/>
                  </a:lnTo>
                  <a:lnTo>
                    <a:pt x="58193" y="43875"/>
                  </a:lnTo>
                  <a:lnTo>
                    <a:pt x="58602" y="43875"/>
                  </a:lnTo>
                  <a:lnTo>
                    <a:pt x="58295" y="43466"/>
                  </a:lnTo>
                  <a:lnTo>
                    <a:pt x="59420" y="43364"/>
                  </a:lnTo>
                  <a:lnTo>
                    <a:pt x="59523" y="43057"/>
                  </a:lnTo>
                  <a:lnTo>
                    <a:pt x="59523" y="43057"/>
                  </a:lnTo>
                  <a:lnTo>
                    <a:pt x="59216" y="43364"/>
                  </a:lnTo>
                  <a:lnTo>
                    <a:pt x="58705" y="43057"/>
                  </a:lnTo>
                  <a:lnTo>
                    <a:pt x="58807" y="42750"/>
                  </a:lnTo>
                  <a:lnTo>
                    <a:pt x="59216" y="42852"/>
                  </a:lnTo>
                  <a:lnTo>
                    <a:pt x="59318" y="42750"/>
                  </a:lnTo>
                  <a:lnTo>
                    <a:pt x="59523" y="42852"/>
                  </a:lnTo>
                  <a:lnTo>
                    <a:pt x="59523" y="42545"/>
                  </a:lnTo>
                  <a:lnTo>
                    <a:pt x="59420" y="42034"/>
                  </a:lnTo>
                  <a:lnTo>
                    <a:pt x="59216" y="41932"/>
                  </a:lnTo>
                  <a:lnTo>
                    <a:pt x="58705" y="41625"/>
                  </a:lnTo>
                  <a:lnTo>
                    <a:pt x="59114" y="41727"/>
                  </a:lnTo>
                  <a:lnTo>
                    <a:pt x="59216" y="41932"/>
                  </a:lnTo>
                  <a:lnTo>
                    <a:pt x="59216" y="41932"/>
                  </a:lnTo>
                  <a:lnTo>
                    <a:pt x="59114" y="41420"/>
                  </a:lnTo>
                  <a:lnTo>
                    <a:pt x="59420" y="41420"/>
                  </a:lnTo>
                  <a:lnTo>
                    <a:pt x="59523" y="41318"/>
                  </a:lnTo>
                  <a:lnTo>
                    <a:pt x="59011" y="40705"/>
                  </a:lnTo>
                  <a:lnTo>
                    <a:pt x="59523" y="41216"/>
                  </a:lnTo>
                  <a:lnTo>
                    <a:pt x="59523" y="40807"/>
                  </a:lnTo>
                  <a:lnTo>
                    <a:pt x="58909" y="40500"/>
                  </a:lnTo>
                  <a:lnTo>
                    <a:pt x="59318" y="39989"/>
                  </a:lnTo>
                  <a:lnTo>
                    <a:pt x="59011" y="40500"/>
                  </a:lnTo>
                  <a:lnTo>
                    <a:pt x="59216" y="40398"/>
                  </a:lnTo>
                  <a:lnTo>
                    <a:pt x="59216" y="40602"/>
                  </a:lnTo>
                  <a:lnTo>
                    <a:pt x="59318" y="40500"/>
                  </a:lnTo>
                  <a:lnTo>
                    <a:pt x="59625" y="40807"/>
                  </a:lnTo>
                  <a:lnTo>
                    <a:pt x="59523" y="40295"/>
                  </a:lnTo>
                  <a:lnTo>
                    <a:pt x="59727" y="40500"/>
                  </a:lnTo>
                  <a:lnTo>
                    <a:pt x="59830" y="39580"/>
                  </a:lnTo>
                  <a:lnTo>
                    <a:pt x="60034" y="39477"/>
                  </a:lnTo>
                  <a:lnTo>
                    <a:pt x="60034" y="39580"/>
                  </a:lnTo>
                  <a:lnTo>
                    <a:pt x="60136" y="39375"/>
                  </a:lnTo>
                  <a:lnTo>
                    <a:pt x="60136" y="39477"/>
                  </a:lnTo>
                  <a:lnTo>
                    <a:pt x="60443" y="39273"/>
                  </a:lnTo>
                  <a:lnTo>
                    <a:pt x="60443" y="39375"/>
                  </a:lnTo>
                  <a:lnTo>
                    <a:pt x="60341" y="39477"/>
                  </a:lnTo>
                  <a:lnTo>
                    <a:pt x="60443" y="39477"/>
                  </a:lnTo>
                  <a:lnTo>
                    <a:pt x="60034" y="39784"/>
                  </a:lnTo>
                  <a:lnTo>
                    <a:pt x="60136" y="39784"/>
                  </a:lnTo>
                  <a:lnTo>
                    <a:pt x="59830" y="40193"/>
                  </a:lnTo>
                  <a:lnTo>
                    <a:pt x="60136" y="40295"/>
                  </a:lnTo>
                  <a:lnTo>
                    <a:pt x="60136" y="40500"/>
                  </a:lnTo>
                  <a:lnTo>
                    <a:pt x="60034" y="40705"/>
                  </a:lnTo>
                  <a:lnTo>
                    <a:pt x="60034" y="40909"/>
                  </a:lnTo>
                  <a:lnTo>
                    <a:pt x="60136" y="40909"/>
                  </a:lnTo>
                  <a:lnTo>
                    <a:pt x="59727" y="41830"/>
                  </a:lnTo>
                  <a:lnTo>
                    <a:pt x="60750" y="40500"/>
                  </a:lnTo>
                  <a:lnTo>
                    <a:pt x="60750" y="39375"/>
                  </a:lnTo>
                  <a:lnTo>
                    <a:pt x="61057" y="39886"/>
                  </a:lnTo>
                  <a:lnTo>
                    <a:pt x="62182" y="38864"/>
                  </a:lnTo>
                  <a:lnTo>
                    <a:pt x="62386" y="38455"/>
                  </a:lnTo>
                  <a:lnTo>
                    <a:pt x="62284" y="38250"/>
                  </a:lnTo>
                  <a:lnTo>
                    <a:pt x="62591" y="37636"/>
                  </a:lnTo>
                  <a:lnTo>
                    <a:pt x="62489" y="38148"/>
                  </a:lnTo>
                  <a:lnTo>
                    <a:pt x="64943" y="37125"/>
                  </a:lnTo>
                  <a:lnTo>
                    <a:pt x="65045" y="37227"/>
                  </a:lnTo>
                  <a:lnTo>
                    <a:pt x="65148" y="37125"/>
                  </a:lnTo>
                  <a:lnTo>
                    <a:pt x="65148" y="37125"/>
                  </a:lnTo>
                  <a:lnTo>
                    <a:pt x="65045" y="37432"/>
                  </a:lnTo>
                  <a:lnTo>
                    <a:pt x="65557" y="37227"/>
                  </a:lnTo>
                  <a:lnTo>
                    <a:pt x="65557" y="37227"/>
                  </a:lnTo>
                  <a:lnTo>
                    <a:pt x="65455" y="37330"/>
                  </a:lnTo>
                  <a:lnTo>
                    <a:pt x="66068" y="37227"/>
                  </a:lnTo>
                  <a:lnTo>
                    <a:pt x="65966" y="36818"/>
                  </a:lnTo>
                  <a:lnTo>
                    <a:pt x="65761" y="37125"/>
                  </a:lnTo>
                  <a:lnTo>
                    <a:pt x="65455" y="36614"/>
                  </a:lnTo>
                  <a:lnTo>
                    <a:pt x="66784" y="35080"/>
                  </a:lnTo>
                  <a:lnTo>
                    <a:pt x="66886" y="35182"/>
                  </a:lnTo>
                  <a:lnTo>
                    <a:pt x="66989" y="34977"/>
                  </a:lnTo>
                  <a:lnTo>
                    <a:pt x="66989" y="35080"/>
                  </a:lnTo>
                  <a:lnTo>
                    <a:pt x="67091" y="34875"/>
                  </a:lnTo>
                  <a:lnTo>
                    <a:pt x="67091" y="35080"/>
                  </a:lnTo>
                  <a:lnTo>
                    <a:pt x="67193" y="34977"/>
                  </a:lnTo>
                  <a:lnTo>
                    <a:pt x="68011" y="34364"/>
                  </a:lnTo>
                  <a:lnTo>
                    <a:pt x="68011" y="34466"/>
                  </a:lnTo>
                  <a:lnTo>
                    <a:pt x="67909" y="34568"/>
                  </a:lnTo>
                  <a:lnTo>
                    <a:pt x="68114" y="34670"/>
                  </a:lnTo>
                  <a:lnTo>
                    <a:pt x="68216" y="34364"/>
                  </a:lnTo>
                  <a:lnTo>
                    <a:pt x="68523" y="34568"/>
                  </a:lnTo>
                  <a:lnTo>
                    <a:pt x="69136" y="34261"/>
                  </a:lnTo>
                  <a:lnTo>
                    <a:pt x="69545" y="33648"/>
                  </a:lnTo>
                  <a:lnTo>
                    <a:pt x="70568" y="33443"/>
                  </a:lnTo>
                  <a:lnTo>
                    <a:pt x="70466" y="33545"/>
                  </a:lnTo>
                  <a:lnTo>
                    <a:pt x="71795" y="32932"/>
                  </a:lnTo>
                  <a:lnTo>
                    <a:pt x="72102" y="33034"/>
                  </a:lnTo>
                  <a:lnTo>
                    <a:pt x="71386" y="33443"/>
                  </a:lnTo>
                  <a:lnTo>
                    <a:pt x="72716" y="33443"/>
                  </a:lnTo>
                  <a:lnTo>
                    <a:pt x="71898" y="33852"/>
                  </a:lnTo>
                  <a:lnTo>
                    <a:pt x="71898" y="33545"/>
                  </a:lnTo>
                  <a:lnTo>
                    <a:pt x="71795" y="33545"/>
                  </a:lnTo>
                  <a:lnTo>
                    <a:pt x="70568" y="34261"/>
                  </a:lnTo>
                  <a:lnTo>
                    <a:pt x="70568" y="34261"/>
                  </a:lnTo>
                  <a:lnTo>
                    <a:pt x="70364" y="34364"/>
                  </a:lnTo>
                  <a:lnTo>
                    <a:pt x="69955" y="35182"/>
                  </a:lnTo>
                  <a:lnTo>
                    <a:pt x="70261" y="35386"/>
                  </a:lnTo>
                  <a:lnTo>
                    <a:pt x="71795" y="34364"/>
                  </a:lnTo>
                  <a:lnTo>
                    <a:pt x="71795" y="34466"/>
                  </a:lnTo>
                  <a:lnTo>
                    <a:pt x="71898" y="34261"/>
                  </a:lnTo>
                  <a:lnTo>
                    <a:pt x="74250" y="33648"/>
                  </a:lnTo>
                  <a:lnTo>
                    <a:pt x="74250" y="33443"/>
                  </a:lnTo>
                  <a:lnTo>
                    <a:pt x="74250" y="33136"/>
                  </a:lnTo>
                  <a:lnTo>
                    <a:pt x="73943" y="32932"/>
                  </a:lnTo>
                  <a:lnTo>
                    <a:pt x="73227" y="33239"/>
                  </a:lnTo>
                  <a:lnTo>
                    <a:pt x="73330" y="33136"/>
                  </a:lnTo>
                  <a:lnTo>
                    <a:pt x="72307" y="32830"/>
                  </a:lnTo>
                  <a:lnTo>
                    <a:pt x="72511" y="32727"/>
                  </a:lnTo>
                  <a:lnTo>
                    <a:pt x="72000" y="32420"/>
                  </a:lnTo>
                  <a:lnTo>
                    <a:pt x="72000" y="31807"/>
                  </a:lnTo>
                  <a:lnTo>
                    <a:pt x="71693" y="31705"/>
                  </a:lnTo>
                  <a:lnTo>
                    <a:pt x="72409" y="31091"/>
                  </a:lnTo>
                  <a:lnTo>
                    <a:pt x="72146" y="31003"/>
                  </a:lnTo>
                  <a:lnTo>
                    <a:pt x="72146" y="31003"/>
                  </a:lnTo>
                  <a:lnTo>
                    <a:pt x="71795" y="31091"/>
                  </a:lnTo>
                  <a:lnTo>
                    <a:pt x="70875" y="30784"/>
                  </a:lnTo>
                  <a:lnTo>
                    <a:pt x="72102" y="30784"/>
                  </a:lnTo>
                  <a:lnTo>
                    <a:pt x="72818" y="29966"/>
                  </a:lnTo>
                  <a:lnTo>
                    <a:pt x="70568" y="29966"/>
                  </a:lnTo>
                  <a:lnTo>
                    <a:pt x="63307" y="33852"/>
                  </a:lnTo>
                  <a:lnTo>
                    <a:pt x="63307" y="33852"/>
                  </a:lnTo>
                  <a:lnTo>
                    <a:pt x="68114" y="31091"/>
                  </a:lnTo>
                  <a:lnTo>
                    <a:pt x="67602" y="30375"/>
                  </a:lnTo>
                  <a:lnTo>
                    <a:pt x="79977" y="27205"/>
                  </a:lnTo>
                  <a:lnTo>
                    <a:pt x="80795" y="26489"/>
                  </a:lnTo>
                  <a:lnTo>
                    <a:pt x="80591" y="26284"/>
                  </a:lnTo>
                  <a:lnTo>
                    <a:pt x="81000" y="26080"/>
                  </a:lnTo>
                  <a:lnTo>
                    <a:pt x="81205" y="25466"/>
                  </a:lnTo>
                  <a:lnTo>
                    <a:pt x="80898" y="25159"/>
                  </a:lnTo>
                  <a:lnTo>
                    <a:pt x="80080" y="25364"/>
                  </a:lnTo>
                  <a:lnTo>
                    <a:pt x="79977" y="25261"/>
                  </a:lnTo>
                  <a:lnTo>
                    <a:pt x="80386" y="24852"/>
                  </a:lnTo>
                  <a:lnTo>
                    <a:pt x="79875" y="24750"/>
                  </a:lnTo>
                  <a:lnTo>
                    <a:pt x="77727" y="25568"/>
                  </a:lnTo>
                  <a:lnTo>
                    <a:pt x="78034" y="25364"/>
                  </a:lnTo>
                  <a:lnTo>
                    <a:pt x="77830" y="25261"/>
                  </a:lnTo>
                  <a:lnTo>
                    <a:pt x="80182" y="24545"/>
                  </a:lnTo>
                  <a:lnTo>
                    <a:pt x="80182" y="24034"/>
                  </a:lnTo>
                  <a:lnTo>
                    <a:pt x="79773" y="24136"/>
                  </a:lnTo>
                  <a:lnTo>
                    <a:pt x="79261" y="23727"/>
                  </a:lnTo>
                  <a:lnTo>
                    <a:pt x="78648" y="24034"/>
                  </a:lnTo>
                  <a:lnTo>
                    <a:pt x="79159" y="23727"/>
                  </a:lnTo>
                  <a:lnTo>
                    <a:pt x="78852" y="23625"/>
                  </a:lnTo>
                  <a:lnTo>
                    <a:pt x="78239" y="23830"/>
                  </a:lnTo>
                  <a:lnTo>
                    <a:pt x="78648" y="23523"/>
                  </a:lnTo>
                  <a:lnTo>
                    <a:pt x="78648" y="23114"/>
                  </a:lnTo>
                  <a:lnTo>
                    <a:pt x="78545" y="23216"/>
                  </a:lnTo>
                  <a:lnTo>
                    <a:pt x="78443" y="23011"/>
                  </a:lnTo>
                  <a:lnTo>
                    <a:pt x="77932" y="22909"/>
                  </a:lnTo>
                  <a:lnTo>
                    <a:pt x="78136" y="22705"/>
                  </a:lnTo>
                  <a:lnTo>
                    <a:pt x="77830" y="22705"/>
                  </a:lnTo>
                  <a:lnTo>
                    <a:pt x="78136" y="22602"/>
                  </a:lnTo>
                  <a:lnTo>
                    <a:pt x="77727" y="22500"/>
                  </a:lnTo>
                  <a:lnTo>
                    <a:pt x="77932" y="22398"/>
                  </a:lnTo>
                  <a:lnTo>
                    <a:pt x="77523" y="22193"/>
                  </a:lnTo>
                  <a:lnTo>
                    <a:pt x="78341" y="22091"/>
                  </a:lnTo>
                  <a:lnTo>
                    <a:pt x="77727" y="21477"/>
                  </a:lnTo>
                  <a:lnTo>
                    <a:pt x="78341" y="21170"/>
                  </a:lnTo>
                  <a:lnTo>
                    <a:pt x="78034" y="20864"/>
                  </a:lnTo>
                  <a:lnTo>
                    <a:pt x="77420" y="20966"/>
                  </a:lnTo>
                  <a:lnTo>
                    <a:pt x="77420" y="20966"/>
                  </a:lnTo>
                  <a:lnTo>
                    <a:pt x="78136" y="20557"/>
                  </a:lnTo>
                  <a:lnTo>
                    <a:pt x="77318" y="20659"/>
                  </a:lnTo>
                  <a:lnTo>
                    <a:pt x="77318" y="20659"/>
                  </a:lnTo>
                  <a:lnTo>
                    <a:pt x="77932" y="20455"/>
                  </a:lnTo>
                  <a:lnTo>
                    <a:pt x="77727" y="20148"/>
                  </a:lnTo>
                  <a:lnTo>
                    <a:pt x="77932" y="20045"/>
                  </a:lnTo>
                  <a:lnTo>
                    <a:pt x="77318" y="20045"/>
                  </a:lnTo>
                  <a:lnTo>
                    <a:pt x="77727" y="19943"/>
                  </a:lnTo>
                  <a:lnTo>
                    <a:pt x="77523" y="19636"/>
                  </a:lnTo>
                  <a:lnTo>
                    <a:pt x="77727" y="19534"/>
                  </a:lnTo>
                  <a:lnTo>
                    <a:pt x="77625" y="19330"/>
                  </a:lnTo>
                  <a:lnTo>
                    <a:pt x="77420" y="19330"/>
                  </a:lnTo>
                  <a:lnTo>
                    <a:pt x="77216" y="19125"/>
                  </a:lnTo>
                  <a:lnTo>
                    <a:pt x="77216" y="18818"/>
                  </a:lnTo>
                  <a:lnTo>
                    <a:pt x="76705" y="19739"/>
                  </a:lnTo>
                  <a:lnTo>
                    <a:pt x="76398" y="19739"/>
                  </a:lnTo>
                  <a:lnTo>
                    <a:pt x="76295" y="20045"/>
                  </a:lnTo>
                  <a:lnTo>
                    <a:pt x="75580" y="20557"/>
                  </a:lnTo>
                  <a:lnTo>
                    <a:pt x="75477" y="20250"/>
                  </a:lnTo>
                  <a:lnTo>
                    <a:pt x="74148" y="21068"/>
                  </a:lnTo>
                  <a:lnTo>
                    <a:pt x="74250" y="20659"/>
                  </a:lnTo>
                  <a:lnTo>
                    <a:pt x="73943" y="20864"/>
                  </a:lnTo>
                  <a:lnTo>
                    <a:pt x="73841" y="20761"/>
                  </a:lnTo>
                  <a:lnTo>
                    <a:pt x="73739" y="20761"/>
                  </a:lnTo>
                  <a:lnTo>
                    <a:pt x="73943" y="20250"/>
                  </a:lnTo>
                  <a:lnTo>
                    <a:pt x="72716" y="20250"/>
                  </a:lnTo>
                  <a:lnTo>
                    <a:pt x="73534" y="19739"/>
                  </a:lnTo>
                  <a:lnTo>
                    <a:pt x="73330" y="19739"/>
                  </a:lnTo>
                  <a:lnTo>
                    <a:pt x="73534" y="19330"/>
                  </a:lnTo>
                  <a:lnTo>
                    <a:pt x="72920" y="19125"/>
                  </a:lnTo>
                  <a:lnTo>
                    <a:pt x="73636" y="19023"/>
                  </a:lnTo>
                  <a:lnTo>
                    <a:pt x="74148" y="18102"/>
                  </a:lnTo>
                  <a:lnTo>
                    <a:pt x="74148" y="18102"/>
                  </a:lnTo>
                  <a:lnTo>
                    <a:pt x="73841" y="18307"/>
                  </a:lnTo>
                  <a:lnTo>
                    <a:pt x="72716" y="17795"/>
                  </a:lnTo>
                  <a:lnTo>
                    <a:pt x="73023" y="17591"/>
                  </a:lnTo>
                  <a:lnTo>
                    <a:pt x="72511" y="17591"/>
                  </a:lnTo>
                  <a:lnTo>
                    <a:pt x="72000" y="16875"/>
                  </a:lnTo>
                  <a:lnTo>
                    <a:pt x="70364" y="17080"/>
                  </a:lnTo>
                  <a:lnTo>
                    <a:pt x="70466" y="16977"/>
                  </a:lnTo>
                  <a:lnTo>
                    <a:pt x="68932" y="16875"/>
                  </a:lnTo>
                  <a:lnTo>
                    <a:pt x="68727" y="17693"/>
                  </a:lnTo>
                  <a:lnTo>
                    <a:pt x="67909" y="18307"/>
                  </a:lnTo>
                  <a:lnTo>
                    <a:pt x="68318" y="18307"/>
                  </a:lnTo>
                  <a:lnTo>
                    <a:pt x="67909" y="19023"/>
                  </a:lnTo>
                  <a:lnTo>
                    <a:pt x="68114" y="19125"/>
                  </a:lnTo>
                  <a:lnTo>
                    <a:pt x="66580" y="20250"/>
                  </a:lnTo>
                  <a:lnTo>
                    <a:pt x="67193" y="21784"/>
                  </a:lnTo>
                  <a:lnTo>
                    <a:pt x="63511" y="24239"/>
                  </a:lnTo>
                  <a:lnTo>
                    <a:pt x="63716" y="24750"/>
                  </a:lnTo>
                  <a:lnTo>
                    <a:pt x="63614" y="24750"/>
                  </a:lnTo>
                  <a:lnTo>
                    <a:pt x="63716" y="25057"/>
                  </a:lnTo>
                  <a:lnTo>
                    <a:pt x="63307" y="26591"/>
                  </a:lnTo>
                  <a:lnTo>
                    <a:pt x="62693" y="27000"/>
                  </a:lnTo>
                  <a:lnTo>
                    <a:pt x="62795" y="27307"/>
                  </a:lnTo>
                  <a:lnTo>
                    <a:pt x="62489" y="27614"/>
                  </a:lnTo>
                  <a:lnTo>
                    <a:pt x="62386" y="27205"/>
                  </a:lnTo>
                  <a:lnTo>
                    <a:pt x="61977" y="27511"/>
                  </a:lnTo>
                  <a:lnTo>
                    <a:pt x="61977" y="28023"/>
                  </a:lnTo>
                  <a:lnTo>
                    <a:pt x="60955" y="27716"/>
                  </a:lnTo>
                  <a:lnTo>
                    <a:pt x="61364" y="27000"/>
                  </a:lnTo>
                  <a:lnTo>
                    <a:pt x="60648" y="26591"/>
                  </a:lnTo>
                  <a:lnTo>
                    <a:pt x="61466" y="24341"/>
                  </a:lnTo>
                  <a:lnTo>
                    <a:pt x="60852" y="23625"/>
                  </a:lnTo>
                  <a:lnTo>
                    <a:pt x="59420" y="23830"/>
                  </a:lnTo>
                  <a:lnTo>
                    <a:pt x="59216" y="23216"/>
                  </a:lnTo>
                  <a:lnTo>
                    <a:pt x="57682" y="22091"/>
                  </a:lnTo>
                  <a:lnTo>
                    <a:pt x="55227" y="21989"/>
                  </a:lnTo>
                  <a:lnTo>
                    <a:pt x="55330" y="21886"/>
                  </a:lnTo>
                  <a:lnTo>
                    <a:pt x="54920" y="22091"/>
                  </a:lnTo>
                  <a:lnTo>
                    <a:pt x="55636" y="20761"/>
                  </a:lnTo>
                  <a:lnTo>
                    <a:pt x="55534" y="20250"/>
                  </a:lnTo>
                  <a:lnTo>
                    <a:pt x="54614" y="20761"/>
                  </a:lnTo>
                  <a:lnTo>
                    <a:pt x="54920" y="20352"/>
                  </a:lnTo>
                  <a:lnTo>
                    <a:pt x="54716" y="20045"/>
                  </a:lnTo>
                  <a:lnTo>
                    <a:pt x="57580" y="17489"/>
                  </a:lnTo>
                  <a:lnTo>
                    <a:pt x="57580" y="17284"/>
                  </a:lnTo>
                  <a:lnTo>
                    <a:pt x="58091" y="16875"/>
                  </a:lnTo>
                  <a:lnTo>
                    <a:pt x="58398" y="17080"/>
                  </a:lnTo>
                  <a:lnTo>
                    <a:pt x="58398" y="16875"/>
                  </a:lnTo>
                  <a:lnTo>
                    <a:pt x="59114" y="16670"/>
                  </a:lnTo>
                  <a:lnTo>
                    <a:pt x="59216" y="16466"/>
                  </a:lnTo>
                  <a:lnTo>
                    <a:pt x="60136" y="16364"/>
                  </a:lnTo>
                  <a:lnTo>
                    <a:pt x="60239" y="15852"/>
                  </a:lnTo>
                  <a:lnTo>
                    <a:pt x="59830" y="15648"/>
                  </a:lnTo>
                  <a:lnTo>
                    <a:pt x="59420" y="15852"/>
                  </a:lnTo>
                  <a:lnTo>
                    <a:pt x="59727" y="15648"/>
                  </a:lnTo>
                  <a:lnTo>
                    <a:pt x="59011" y="15443"/>
                  </a:lnTo>
                  <a:lnTo>
                    <a:pt x="58909" y="15239"/>
                  </a:lnTo>
                  <a:lnTo>
                    <a:pt x="59932" y="15545"/>
                  </a:lnTo>
                  <a:lnTo>
                    <a:pt x="59932" y="15648"/>
                  </a:lnTo>
                  <a:lnTo>
                    <a:pt x="64227" y="14318"/>
                  </a:lnTo>
                  <a:lnTo>
                    <a:pt x="61670" y="13602"/>
                  </a:lnTo>
                  <a:lnTo>
                    <a:pt x="62693" y="13705"/>
                  </a:lnTo>
                  <a:lnTo>
                    <a:pt x="64330" y="14114"/>
                  </a:lnTo>
                  <a:lnTo>
                    <a:pt x="65455" y="13602"/>
                  </a:lnTo>
                  <a:lnTo>
                    <a:pt x="65250" y="13193"/>
                  </a:lnTo>
                  <a:lnTo>
                    <a:pt x="66170" y="13091"/>
                  </a:lnTo>
                  <a:lnTo>
                    <a:pt x="66375" y="13398"/>
                  </a:lnTo>
                  <a:lnTo>
                    <a:pt x="66784" y="13295"/>
                  </a:lnTo>
                  <a:lnTo>
                    <a:pt x="67091" y="13091"/>
                  </a:lnTo>
                  <a:lnTo>
                    <a:pt x="66580" y="12784"/>
                  </a:lnTo>
                  <a:lnTo>
                    <a:pt x="66580" y="12784"/>
                  </a:lnTo>
                  <a:lnTo>
                    <a:pt x="67091" y="12886"/>
                  </a:lnTo>
                  <a:lnTo>
                    <a:pt x="67398" y="13295"/>
                  </a:lnTo>
                  <a:lnTo>
                    <a:pt x="69545" y="12273"/>
                  </a:lnTo>
                  <a:lnTo>
                    <a:pt x="69443" y="11659"/>
                  </a:lnTo>
                  <a:lnTo>
                    <a:pt x="69955" y="11045"/>
                  </a:lnTo>
                  <a:lnTo>
                    <a:pt x="70568" y="10841"/>
                  </a:lnTo>
                  <a:lnTo>
                    <a:pt x="69955" y="10739"/>
                  </a:lnTo>
                  <a:lnTo>
                    <a:pt x="69852" y="10534"/>
                  </a:lnTo>
                  <a:lnTo>
                    <a:pt x="70159" y="10432"/>
                  </a:lnTo>
                  <a:lnTo>
                    <a:pt x="68216" y="10227"/>
                  </a:lnTo>
                  <a:lnTo>
                    <a:pt x="67909" y="10739"/>
                  </a:lnTo>
                  <a:lnTo>
                    <a:pt x="68114" y="10943"/>
                  </a:lnTo>
                  <a:lnTo>
                    <a:pt x="67807" y="11045"/>
                  </a:lnTo>
                  <a:lnTo>
                    <a:pt x="68011" y="11148"/>
                  </a:lnTo>
                  <a:lnTo>
                    <a:pt x="65352" y="12580"/>
                  </a:lnTo>
                  <a:lnTo>
                    <a:pt x="65148" y="11761"/>
                  </a:lnTo>
                  <a:lnTo>
                    <a:pt x="65352" y="11557"/>
                  </a:lnTo>
                  <a:lnTo>
                    <a:pt x="65455" y="11557"/>
                  </a:lnTo>
                  <a:lnTo>
                    <a:pt x="65864" y="11045"/>
                  </a:lnTo>
                  <a:lnTo>
                    <a:pt x="64841" y="11045"/>
                  </a:lnTo>
                  <a:lnTo>
                    <a:pt x="64023" y="11557"/>
                  </a:lnTo>
                  <a:lnTo>
                    <a:pt x="64023" y="11557"/>
                  </a:lnTo>
                  <a:lnTo>
                    <a:pt x="64125" y="10739"/>
                  </a:lnTo>
                  <a:lnTo>
                    <a:pt x="64739" y="10534"/>
                  </a:lnTo>
                  <a:lnTo>
                    <a:pt x="64125" y="10534"/>
                  </a:lnTo>
                  <a:lnTo>
                    <a:pt x="64432" y="10432"/>
                  </a:lnTo>
                  <a:lnTo>
                    <a:pt x="63307" y="10330"/>
                  </a:lnTo>
                  <a:lnTo>
                    <a:pt x="64125" y="10023"/>
                  </a:lnTo>
                  <a:lnTo>
                    <a:pt x="63818" y="10023"/>
                  </a:lnTo>
                  <a:lnTo>
                    <a:pt x="64330" y="9920"/>
                  </a:lnTo>
                  <a:lnTo>
                    <a:pt x="64125" y="9409"/>
                  </a:lnTo>
                  <a:lnTo>
                    <a:pt x="64432" y="9000"/>
                  </a:lnTo>
                  <a:lnTo>
                    <a:pt x="64227" y="8591"/>
                  </a:lnTo>
                  <a:lnTo>
                    <a:pt x="63920" y="838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5" name="Shape 1556"/>
            <p:cNvSpPr/>
            <p:nvPr/>
          </p:nvSpPr>
          <p:spPr>
            <a:xfrm>
              <a:off x="2067527" y="1419687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FF000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37" name="Shape 1557"/>
            <p:cNvSpPr/>
            <p:nvPr/>
          </p:nvSpPr>
          <p:spPr>
            <a:xfrm>
              <a:off x="3783647" y="2957509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FF000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38" name="Shape 1558"/>
            <p:cNvSpPr/>
            <p:nvPr/>
          </p:nvSpPr>
          <p:spPr>
            <a:xfrm>
              <a:off x="4898012" y="1098686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FF000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39" name="Shape 1559"/>
            <p:cNvSpPr/>
            <p:nvPr/>
          </p:nvSpPr>
          <p:spPr>
            <a:xfrm>
              <a:off x="5678066" y="3336392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00B05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49" name="Shape 1560"/>
            <p:cNvSpPr/>
            <p:nvPr/>
          </p:nvSpPr>
          <p:spPr>
            <a:xfrm>
              <a:off x="7951368" y="1620272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52" name="Shape 1561"/>
            <p:cNvSpPr/>
            <p:nvPr/>
          </p:nvSpPr>
          <p:spPr>
            <a:xfrm>
              <a:off x="8720277" y="3436685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rgbClr val="00B050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cxnSp>
          <p:nvCxnSpPr>
            <p:cNvPr id="63" name="Gerader Verbinder 62"/>
            <p:cNvCxnSpPr/>
            <p:nvPr/>
          </p:nvCxnSpPr>
          <p:spPr>
            <a:xfrm>
              <a:off x="2309786" y="1740682"/>
              <a:ext cx="1473861" cy="1216827"/>
            </a:xfrm>
            <a:prstGeom prst="line">
              <a:avLst/>
            </a:prstGeom>
            <a:ln w="25400">
              <a:solidFill>
                <a:srgbClr val="E2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/>
            <p:cNvCxnSpPr/>
            <p:nvPr/>
          </p:nvCxnSpPr>
          <p:spPr>
            <a:xfrm flipV="1">
              <a:off x="2419048" y="1257274"/>
              <a:ext cx="2342062" cy="292100"/>
            </a:xfrm>
            <a:prstGeom prst="line">
              <a:avLst/>
            </a:prstGeom>
            <a:ln w="25400">
              <a:solidFill>
                <a:srgbClr val="E2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/>
            <p:cNvCxnSpPr/>
            <p:nvPr/>
          </p:nvCxnSpPr>
          <p:spPr>
            <a:xfrm>
              <a:off x="4083076" y="3110833"/>
              <a:ext cx="1490790" cy="325852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/>
            <p:cNvCxnSpPr/>
            <p:nvPr/>
          </p:nvCxnSpPr>
          <p:spPr>
            <a:xfrm>
              <a:off x="5194986" y="1234027"/>
              <a:ext cx="2657065" cy="506655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/>
            <p:cNvCxnSpPr/>
            <p:nvPr/>
          </p:nvCxnSpPr>
          <p:spPr>
            <a:xfrm>
              <a:off x="6021272" y="3482059"/>
              <a:ext cx="2598058" cy="109812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/>
            <p:cNvCxnSpPr/>
            <p:nvPr/>
          </p:nvCxnSpPr>
          <p:spPr>
            <a:xfrm flipV="1">
              <a:off x="4018853" y="1419687"/>
              <a:ext cx="940195" cy="1528707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/>
            <p:cNvCxnSpPr/>
            <p:nvPr/>
          </p:nvCxnSpPr>
          <p:spPr>
            <a:xfrm flipH="1" flipV="1">
              <a:off x="5095669" y="1419681"/>
              <a:ext cx="639306" cy="1854079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/>
            <p:cNvCxnSpPr/>
            <p:nvPr/>
          </p:nvCxnSpPr>
          <p:spPr>
            <a:xfrm flipV="1">
              <a:off x="5971641" y="1941268"/>
              <a:ext cx="1984610" cy="1407664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/>
            <p:cNvCxnSpPr/>
            <p:nvPr/>
          </p:nvCxnSpPr>
          <p:spPr>
            <a:xfrm>
              <a:off x="8193627" y="1912427"/>
              <a:ext cx="647779" cy="1469352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4" name="Shape 1555"/>
          <p:cNvSpPr/>
          <p:nvPr/>
        </p:nvSpPr>
        <p:spPr>
          <a:xfrm>
            <a:off x="7509183" y="1173048"/>
            <a:ext cx="1995222" cy="529650"/>
          </a:xfrm>
          <a:prstGeom prst="wedgeRectCallout">
            <a:avLst>
              <a:gd name="adj1" fmla="val -31469"/>
              <a:gd name="adj2" fmla="val 79297"/>
            </a:avLst>
          </a:prstGeom>
          <a:solidFill>
            <a:schemeClr val="tx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" sz="1200" dirty="0" smtClean="0">
                <a:solidFill>
                  <a:srgbClr val="FFFFFF"/>
                </a:solidFill>
                <a:latin typeface="Muli"/>
                <a:ea typeface="Muli"/>
                <a:cs typeface="Muli"/>
                <a:sym typeface="Muli"/>
              </a:rPr>
              <a:t>Lösung für Proof-of-Work gefunden (Block C)</a:t>
            </a:r>
            <a:endParaRPr lang="en" sz="1200" dirty="0">
              <a:solidFill>
                <a:srgbClr val="FFFFFF"/>
              </a:solidFill>
              <a:latin typeface="Muli"/>
              <a:ea typeface="Muli"/>
              <a:cs typeface="Muli"/>
              <a:sym typeface="Muli"/>
            </a:endParaRPr>
          </a:p>
        </p:txBody>
      </p:sp>
    </p:spTree>
    <p:extLst>
      <p:ext uri="{BB962C8B-B14F-4D97-AF65-F5344CB8AC3E}">
        <p14:creationId xmlns:p14="http://schemas.microsoft.com/office/powerpoint/2010/main" val="4137865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4</a:t>
            </a:fld>
            <a:endParaRPr lang="de-DE" dirty="0"/>
          </a:p>
        </p:txBody>
      </p:sp>
      <p:sp>
        <p:nvSpPr>
          <p:cNvPr id="58" name="Rechteck 57"/>
          <p:cNvSpPr/>
          <p:nvPr/>
        </p:nvSpPr>
        <p:spPr bwMode="gray">
          <a:xfrm>
            <a:off x="2020137" y="4785766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59" name="Gerade Verbindung mit Pfeil 58"/>
          <p:cNvCxnSpPr/>
          <p:nvPr/>
        </p:nvCxnSpPr>
        <p:spPr>
          <a:xfrm>
            <a:off x="1841179" y="5123439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 bwMode="gray">
          <a:xfrm>
            <a:off x="2825430" y="4785766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</a:p>
        </p:txBody>
      </p:sp>
      <p:cxnSp>
        <p:nvCxnSpPr>
          <p:cNvPr id="62" name="Gerade Verbindung mit Pfeil 61"/>
          <p:cNvCxnSpPr/>
          <p:nvPr/>
        </p:nvCxnSpPr>
        <p:spPr>
          <a:xfrm>
            <a:off x="2646472" y="5120331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 bwMode="gray">
          <a:xfrm>
            <a:off x="3639651" y="4360462"/>
            <a:ext cx="626335" cy="676272"/>
          </a:xfrm>
          <a:prstGeom prst="rect">
            <a:avLst/>
          </a:prstGeom>
          <a:ln>
            <a:solidFill>
              <a:srgbClr val="FF0000">
                <a:alpha val="50000"/>
              </a:srgbClr>
            </a:solidFill>
            <a:prstDash val="dash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B</a:t>
            </a:r>
          </a:p>
        </p:txBody>
      </p:sp>
      <p:cxnSp>
        <p:nvCxnSpPr>
          <p:cNvPr id="65" name="Gerade Verbindung mit Pfeil 64"/>
          <p:cNvCxnSpPr>
            <a:stCxn id="61" idx="3"/>
          </p:cNvCxnSpPr>
          <p:nvPr/>
        </p:nvCxnSpPr>
        <p:spPr>
          <a:xfrm flipV="1">
            <a:off x="3451765" y="4702169"/>
            <a:ext cx="187886" cy="421733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 bwMode="gray">
          <a:xfrm>
            <a:off x="6753071" y="4752973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73" name="Gerade Verbindung mit Pfeil 72"/>
          <p:cNvCxnSpPr/>
          <p:nvPr/>
        </p:nvCxnSpPr>
        <p:spPr>
          <a:xfrm>
            <a:off x="6574113" y="5090646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 bwMode="gray">
          <a:xfrm>
            <a:off x="7558364" y="4752973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</a:p>
        </p:txBody>
      </p:sp>
      <p:cxnSp>
        <p:nvCxnSpPr>
          <p:cNvPr id="75" name="Gerade Verbindung mit Pfeil 74"/>
          <p:cNvCxnSpPr/>
          <p:nvPr/>
        </p:nvCxnSpPr>
        <p:spPr>
          <a:xfrm>
            <a:off x="7379406" y="5087538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6" name="Rechteck 75"/>
          <p:cNvSpPr/>
          <p:nvPr/>
        </p:nvSpPr>
        <p:spPr bwMode="gray">
          <a:xfrm>
            <a:off x="8372585" y="4757437"/>
            <a:ext cx="626335" cy="676272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A</a:t>
            </a:r>
          </a:p>
        </p:txBody>
      </p:sp>
      <p:cxnSp>
        <p:nvCxnSpPr>
          <p:cNvPr id="77" name="Gerade Verbindung mit Pfeil 76"/>
          <p:cNvCxnSpPr/>
          <p:nvPr/>
        </p:nvCxnSpPr>
        <p:spPr>
          <a:xfrm>
            <a:off x="8193627" y="5092002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 bwMode="gray">
          <a:xfrm>
            <a:off x="9186806" y="4763380"/>
            <a:ext cx="626335" cy="676272"/>
          </a:xfrm>
          <a:prstGeom prst="rect">
            <a:avLst/>
          </a:prstGeom>
          <a:ln>
            <a:solidFill>
              <a:schemeClr val="tx2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C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9007848" y="5097945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 bwMode="gray">
          <a:xfrm>
            <a:off x="3629895" y="5204932"/>
            <a:ext cx="626335" cy="676272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A</a:t>
            </a:r>
          </a:p>
        </p:txBody>
      </p:sp>
      <p:cxnSp>
        <p:nvCxnSpPr>
          <p:cNvPr id="91" name="Gerade Verbindung mit Pfeil 90"/>
          <p:cNvCxnSpPr>
            <a:stCxn id="61" idx="3"/>
          </p:cNvCxnSpPr>
          <p:nvPr/>
        </p:nvCxnSpPr>
        <p:spPr>
          <a:xfrm>
            <a:off x="3451765" y="5123902"/>
            <a:ext cx="178130" cy="422737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2" name="Rechteck 91"/>
          <p:cNvSpPr/>
          <p:nvPr/>
        </p:nvSpPr>
        <p:spPr bwMode="gray">
          <a:xfrm>
            <a:off x="4444116" y="5210875"/>
            <a:ext cx="626335" cy="676272"/>
          </a:xfrm>
          <a:prstGeom prst="rect">
            <a:avLst/>
          </a:prstGeom>
          <a:ln>
            <a:solidFill>
              <a:schemeClr val="tx2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C</a:t>
            </a:r>
          </a:p>
        </p:txBody>
      </p:sp>
      <p:cxnSp>
        <p:nvCxnSpPr>
          <p:cNvPr id="93" name="Gerade Verbindung mit Pfeil 92"/>
          <p:cNvCxnSpPr>
            <a:stCxn id="90" idx="3"/>
          </p:cNvCxnSpPr>
          <p:nvPr/>
        </p:nvCxnSpPr>
        <p:spPr>
          <a:xfrm>
            <a:off x="4256230" y="5543068"/>
            <a:ext cx="187886" cy="9514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38" name="Gruppieren 37"/>
          <p:cNvGrpSpPr/>
          <p:nvPr/>
        </p:nvGrpSpPr>
        <p:grpSpPr>
          <a:xfrm>
            <a:off x="2084558" y="538778"/>
            <a:ext cx="7527502" cy="3585936"/>
            <a:chOff x="1332322" y="212607"/>
            <a:chExt cx="8717944" cy="4153036"/>
          </a:xfrm>
        </p:grpSpPr>
        <p:sp>
          <p:nvSpPr>
            <p:cNvPr id="39" name="Shape 1553"/>
            <p:cNvSpPr/>
            <p:nvPr/>
          </p:nvSpPr>
          <p:spPr>
            <a:xfrm>
              <a:off x="1332322" y="212607"/>
              <a:ext cx="8717944" cy="4153036"/>
            </a:xfrm>
            <a:custGeom>
              <a:avLst/>
              <a:gdLst/>
              <a:ahLst/>
              <a:cxnLst/>
              <a:rect l="0" t="0" r="0" b="0"/>
              <a:pathLst>
                <a:path w="285750" h="136125" extrusionOk="0">
                  <a:moveTo>
                    <a:pt x="74830" y="1313"/>
                  </a:moveTo>
                  <a:lnTo>
                    <a:pt x="74352" y="1330"/>
                  </a:lnTo>
                  <a:lnTo>
                    <a:pt x="74864" y="1330"/>
                  </a:lnTo>
                  <a:lnTo>
                    <a:pt x="74830" y="1313"/>
                  </a:lnTo>
                  <a:close/>
                  <a:moveTo>
                    <a:pt x="77830" y="1739"/>
                  </a:moveTo>
                  <a:lnTo>
                    <a:pt x="77830" y="1739"/>
                  </a:lnTo>
                  <a:lnTo>
                    <a:pt x="77830" y="1739"/>
                  </a:lnTo>
                  <a:close/>
                  <a:moveTo>
                    <a:pt x="176011" y="1432"/>
                  </a:moveTo>
                  <a:lnTo>
                    <a:pt x="176114" y="1636"/>
                  </a:lnTo>
                  <a:lnTo>
                    <a:pt x="175500" y="1841"/>
                  </a:lnTo>
                  <a:lnTo>
                    <a:pt x="175807" y="1943"/>
                  </a:lnTo>
                  <a:lnTo>
                    <a:pt x="178875" y="1943"/>
                  </a:lnTo>
                  <a:lnTo>
                    <a:pt x="178773" y="1636"/>
                  </a:lnTo>
                  <a:lnTo>
                    <a:pt x="176011" y="1432"/>
                  </a:lnTo>
                  <a:close/>
                  <a:moveTo>
                    <a:pt x="135102" y="1841"/>
                  </a:moveTo>
                  <a:lnTo>
                    <a:pt x="134898" y="1943"/>
                  </a:lnTo>
                  <a:lnTo>
                    <a:pt x="135102" y="2045"/>
                  </a:lnTo>
                  <a:lnTo>
                    <a:pt x="134489" y="2045"/>
                  </a:lnTo>
                  <a:lnTo>
                    <a:pt x="134795" y="2148"/>
                  </a:lnTo>
                  <a:lnTo>
                    <a:pt x="134489" y="2148"/>
                  </a:lnTo>
                  <a:lnTo>
                    <a:pt x="135920" y="2352"/>
                  </a:lnTo>
                  <a:lnTo>
                    <a:pt x="135307" y="2455"/>
                  </a:lnTo>
                  <a:lnTo>
                    <a:pt x="137148" y="2557"/>
                  </a:lnTo>
                  <a:lnTo>
                    <a:pt x="137148" y="2659"/>
                  </a:lnTo>
                  <a:lnTo>
                    <a:pt x="139500" y="2148"/>
                  </a:lnTo>
                  <a:lnTo>
                    <a:pt x="137148" y="2045"/>
                  </a:lnTo>
                  <a:lnTo>
                    <a:pt x="137250" y="1841"/>
                  </a:lnTo>
                  <a:lnTo>
                    <a:pt x="136739" y="1841"/>
                  </a:lnTo>
                  <a:lnTo>
                    <a:pt x="136739" y="2045"/>
                  </a:lnTo>
                  <a:lnTo>
                    <a:pt x="135102" y="1841"/>
                  </a:lnTo>
                  <a:close/>
                  <a:moveTo>
                    <a:pt x="178466" y="2045"/>
                  </a:moveTo>
                  <a:lnTo>
                    <a:pt x="177443" y="2148"/>
                  </a:lnTo>
                  <a:lnTo>
                    <a:pt x="177136" y="2455"/>
                  </a:lnTo>
                  <a:lnTo>
                    <a:pt x="181534" y="2864"/>
                  </a:lnTo>
                  <a:lnTo>
                    <a:pt x="181534" y="2864"/>
                  </a:lnTo>
                  <a:lnTo>
                    <a:pt x="180716" y="2659"/>
                  </a:lnTo>
                  <a:lnTo>
                    <a:pt x="181023" y="2659"/>
                  </a:lnTo>
                  <a:lnTo>
                    <a:pt x="180818" y="2250"/>
                  </a:lnTo>
                  <a:lnTo>
                    <a:pt x="178466" y="2045"/>
                  </a:lnTo>
                  <a:close/>
                  <a:moveTo>
                    <a:pt x="75068" y="3170"/>
                  </a:moveTo>
                  <a:lnTo>
                    <a:pt x="74870" y="3225"/>
                  </a:lnTo>
                  <a:lnTo>
                    <a:pt x="75022" y="3201"/>
                  </a:lnTo>
                  <a:lnTo>
                    <a:pt x="75022" y="3201"/>
                  </a:lnTo>
                  <a:lnTo>
                    <a:pt x="75068" y="3170"/>
                  </a:lnTo>
                  <a:close/>
                  <a:moveTo>
                    <a:pt x="72920" y="1227"/>
                  </a:moveTo>
                  <a:lnTo>
                    <a:pt x="72102" y="1330"/>
                  </a:lnTo>
                  <a:lnTo>
                    <a:pt x="72511" y="1330"/>
                  </a:lnTo>
                  <a:lnTo>
                    <a:pt x="70977" y="1534"/>
                  </a:lnTo>
                  <a:lnTo>
                    <a:pt x="71591" y="1739"/>
                  </a:lnTo>
                  <a:lnTo>
                    <a:pt x="70364" y="1739"/>
                  </a:lnTo>
                  <a:lnTo>
                    <a:pt x="70568" y="1841"/>
                  </a:lnTo>
                  <a:lnTo>
                    <a:pt x="70057" y="1943"/>
                  </a:lnTo>
                  <a:lnTo>
                    <a:pt x="71080" y="2045"/>
                  </a:lnTo>
                  <a:lnTo>
                    <a:pt x="69648" y="2045"/>
                  </a:lnTo>
                  <a:lnTo>
                    <a:pt x="69750" y="2352"/>
                  </a:lnTo>
                  <a:lnTo>
                    <a:pt x="70670" y="2352"/>
                  </a:lnTo>
                  <a:lnTo>
                    <a:pt x="69545" y="2557"/>
                  </a:lnTo>
                  <a:lnTo>
                    <a:pt x="70568" y="2557"/>
                  </a:lnTo>
                  <a:lnTo>
                    <a:pt x="70466" y="2659"/>
                  </a:lnTo>
                  <a:lnTo>
                    <a:pt x="72102" y="2557"/>
                  </a:lnTo>
                  <a:lnTo>
                    <a:pt x="70773" y="2761"/>
                  </a:lnTo>
                  <a:lnTo>
                    <a:pt x="70466" y="2966"/>
                  </a:lnTo>
                  <a:lnTo>
                    <a:pt x="70159" y="3068"/>
                  </a:lnTo>
                  <a:lnTo>
                    <a:pt x="70977" y="3170"/>
                  </a:lnTo>
                  <a:lnTo>
                    <a:pt x="70364" y="3273"/>
                  </a:lnTo>
                  <a:lnTo>
                    <a:pt x="72102" y="3477"/>
                  </a:lnTo>
                  <a:lnTo>
                    <a:pt x="72102" y="3170"/>
                  </a:lnTo>
                  <a:lnTo>
                    <a:pt x="72307" y="3273"/>
                  </a:lnTo>
                  <a:lnTo>
                    <a:pt x="73330" y="3170"/>
                  </a:lnTo>
                  <a:lnTo>
                    <a:pt x="73227" y="3068"/>
                  </a:lnTo>
                  <a:lnTo>
                    <a:pt x="73739" y="2864"/>
                  </a:lnTo>
                  <a:lnTo>
                    <a:pt x="73432" y="3068"/>
                  </a:lnTo>
                  <a:lnTo>
                    <a:pt x="75580" y="2557"/>
                  </a:lnTo>
                  <a:lnTo>
                    <a:pt x="74557" y="2455"/>
                  </a:lnTo>
                  <a:lnTo>
                    <a:pt x="74659" y="2045"/>
                  </a:lnTo>
                  <a:lnTo>
                    <a:pt x="74966" y="1841"/>
                  </a:lnTo>
                  <a:lnTo>
                    <a:pt x="74352" y="1943"/>
                  </a:lnTo>
                  <a:lnTo>
                    <a:pt x="74455" y="2045"/>
                  </a:lnTo>
                  <a:lnTo>
                    <a:pt x="73534" y="1739"/>
                  </a:lnTo>
                  <a:lnTo>
                    <a:pt x="73534" y="1636"/>
                  </a:lnTo>
                  <a:lnTo>
                    <a:pt x="72920" y="1227"/>
                  </a:lnTo>
                  <a:close/>
                  <a:moveTo>
                    <a:pt x="74870" y="3225"/>
                  </a:moveTo>
                  <a:lnTo>
                    <a:pt x="73227" y="3477"/>
                  </a:lnTo>
                  <a:lnTo>
                    <a:pt x="74301" y="3380"/>
                  </a:lnTo>
                  <a:lnTo>
                    <a:pt x="74301" y="3380"/>
                  </a:lnTo>
                  <a:lnTo>
                    <a:pt x="74870" y="3225"/>
                  </a:lnTo>
                  <a:close/>
                  <a:moveTo>
                    <a:pt x="74352" y="3375"/>
                  </a:moveTo>
                  <a:lnTo>
                    <a:pt x="74301" y="3380"/>
                  </a:lnTo>
                  <a:lnTo>
                    <a:pt x="74301" y="3380"/>
                  </a:lnTo>
                  <a:lnTo>
                    <a:pt x="73943" y="3477"/>
                  </a:lnTo>
                  <a:lnTo>
                    <a:pt x="74352" y="3375"/>
                  </a:lnTo>
                  <a:close/>
                  <a:moveTo>
                    <a:pt x="182148" y="2557"/>
                  </a:moveTo>
                  <a:lnTo>
                    <a:pt x="182250" y="2966"/>
                  </a:lnTo>
                  <a:lnTo>
                    <a:pt x="182148" y="3170"/>
                  </a:lnTo>
                  <a:lnTo>
                    <a:pt x="182045" y="3580"/>
                  </a:lnTo>
                  <a:lnTo>
                    <a:pt x="185114" y="3170"/>
                  </a:lnTo>
                  <a:lnTo>
                    <a:pt x="183682" y="2761"/>
                  </a:lnTo>
                  <a:lnTo>
                    <a:pt x="183170" y="2864"/>
                  </a:lnTo>
                  <a:lnTo>
                    <a:pt x="182966" y="2761"/>
                  </a:lnTo>
                  <a:lnTo>
                    <a:pt x="183068" y="2659"/>
                  </a:lnTo>
                  <a:lnTo>
                    <a:pt x="182455" y="2557"/>
                  </a:lnTo>
                  <a:lnTo>
                    <a:pt x="182455" y="2557"/>
                  </a:lnTo>
                  <a:lnTo>
                    <a:pt x="182557" y="2659"/>
                  </a:lnTo>
                  <a:lnTo>
                    <a:pt x="182148" y="2557"/>
                  </a:lnTo>
                  <a:close/>
                  <a:moveTo>
                    <a:pt x="64739" y="2557"/>
                  </a:moveTo>
                  <a:lnTo>
                    <a:pt x="63614" y="2864"/>
                  </a:lnTo>
                  <a:lnTo>
                    <a:pt x="64023" y="2864"/>
                  </a:lnTo>
                  <a:lnTo>
                    <a:pt x="63716" y="2966"/>
                  </a:lnTo>
                  <a:lnTo>
                    <a:pt x="63716" y="2966"/>
                  </a:lnTo>
                  <a:lnTo>
                    <a:pt x="64432" y="2864"/>
                  </a:lnTo>
                  <a:lnTo>
                    <a:pt x="64125" y="2966"/>
                  </a:lnTo>
                  <a:lnTo>
                    <a:pt x="64534" y="3068"/>
                  </a:lnTo>
                  <a:lnTo>
                    <a:pt x="64125" y="3068"/>
                  </a:lnTo>
                  <a:lnTo>
                    <a:pt x="64330" y="3170"/>
                  </a:lnTo>
                  <a:lnTo>
                    <a:pt x="63511" y="3375"/>
                  </a:lnTo>
                  <a:lnTo>
                    <a:pt x="65352" y="3477"/>
                  </a:lnTo>
                  <a:lnTo>
                    <a:pt x="65352" y="3580"/>
                  </a:lnTo>
                  <a:lnTo>
                    <a:pt x="66068" y="3682"/>
                  </a:lnTo>
                  <a:lnTo>
                    <a:pt x="66273" y="3375"/>
                  </a:lnTo>
                  <a:lnTo>
                    <a:pt x="66580" y="3170"/>
                  </a:lnTo>
                  <a:lnTo>
                    <a:pt x="65966" y="2966"/>
                  </a:lnTo>
                  <a:lnTo>
                    <a:pt x="66068" y="2864"/>
                  </a:lnTo>
                  <a:lnTo>
                    <a:pt x="65148" y="2966"/>
                  </a:lnTo>
                  <a:lnTo>
                    <a:pt x="65148" y="2864"/>
                  </a:lnTo>
                  <a:lnTo>
                    <a:pt x="64739" y="2557"/>
                  </a:lnTo>
                  <a:close/>
                  <a:moveTo>
                    <a:pt x="67705" y="2966"/>
                  </a:moveTo>
                  <a:lnTo>
                    <a:pt x="67295" y="3273"/>
                  </a:lnTo>
                  <a:lnTo>
                    <a:pt x="67705" y="3477"/>
                  </a:lnTo>
                  <a:lnTo>
                    <a:pt x="67398" y="3682"/>
                  </a:lnTo>
                  <a:lnTo>
                    <a:pt x="69136" y="3273"/>
                  </a:lnTo>
                  <a:lnTo>
                    <a:pt x="67705" y="2966"/>
                  </a:lnTo>
                  <a:close/>
                  <a:moveTo>
                    <a:pt x="136943" y="3170"/>
                  </a:moveTo>
                  <a:lnTo>
                    <a:pt x="135818" y="3273"/>
                  </a:lnTo>
                  <a:lnTo>
                    <a:pt x="136841" y="3682"/>
                  </a:lnTo>
                  <a:lnTo>
                    <a:pt x="136432" y="3886"/>
                  </a:lnTo>
                  <a:lnTo>
                    <a:pt x="137557" y="3886"/>
                  </a:lnTo>
                  <a:lnTo>
                    <a:pt x="137352" y="3989"/>
                  </a:lnTo>
                  <a:lnTo>
                    <a:pt x="137761" y="4091"/>
                  </a:lnTo>
                  <a:lnTo>
                    <a:pt x="138784" y="3784"/>
                  </a:lnTo>
                  <a:lnTo>
                    <a:pt x="137659" y="3477"/>
                  </a:lnTo>
                  <a:lnTo>
                    <a:pt x="137761" y="3477"/>
                  </a:lnTo>
                  <a:lnTo>
                    <a:pt x="137148" y="3375"/>
                  </a:lnTo>
                  <a:lnTo>
                    <a:pt x="136943" y="3170"/>
                  </a:lnTo>
                  <a:close/>
                  <a:moveTo>
                    <a:pt x="131114" y="2250"/>
                  </a:moveTo>
                  <a:lnTo>
                    <a:pt x="131114" y="2352"/>
                  </a:lnTo>
                  <a:lnTo>
                    <a:pt x="130295" y="2352"/>
                  </a:lnTo>
                  <a:lnTo>
                    <a:pt x="131318" y="2864"/>
                  </a:lnTo>
                  <a:lnTo>
                    <a:pt x="130705" y="2864"/>
                  </a:lnTo>
                  <a:lnTo>
                    <a:pt x="131625" y="3375"/>
                  </a:lnTo>
                  <a:lnTo>
                    <a:pt x="132648" y="3273"/>
                  </a:lnTo>
                  <a:lnTo>
                    <a:pt x="132545" y="3170"/>
                  </a:lnTo>
                  <a:lnTo>
                    <a:pt x="132545" y="3068"/>
                  </a:lnTo>
                  <a:lnTo>
                    <a:pt x="132955" y="3068"/>
                  </a:lnTo>
                  <a:lnTo>
                    <a:pt x="133261" y="3273"/>
                  </a:lnTo>
                  <a:lnTo>
                    <a:pt x="133875" y="3068"/>
                  </a:lnTo>
                  <a:lnTo>
                    <a:pt x="133670" y="3170"/>
                  </a:lnTo>
                  <a:lnTo>
                    <a:pt x="134080" y="3273"/>
                  </a:lnTo>
                  <a:lnTo>
                    <a:pt x="132443" y="3580"/>
                  </a:lnTo>
                  <a:lnTo>
                    <a:pt x="132750" y="3784"/>
                  </a:lnTo>
                  <a:lnTo>
                    <a:pt x="134080" y="3784"/>
                  </a:lnTo>
                  <a:lnTo>
                    <a:pt x="132545" y="4091"/>
                  </a:lnTo>
                  <a:lnTo>
                    <a:pt x="134284" y="4602"/>
                  </a:lnTo>
                  <a:lnTo>
                    <a:pt x="134386" y="4398"/>
                  </a:lnTo>
                  <a:lnTo>
                    <a:pt x="134284" y="4295"/>
                  </a:lnTo>
                  <a:lnTo>
                    <a:pt x="134898" y="3886"/>
                  </a:lnTo>
                  <a:lnTo>
                    <a:pt x="134898" y="3580"/>
                  </a:lnTo>
                  <a:lnTo>
                    <a:pt x="135205" y="3477"/>
                  </a:lnTo>
                  <a:lnTo>
                    <a:pt x="135511" y="3170"/>
                  </a:lnTo>
                  <a:lnTo>
                    <a:pt x="136432" y="3068"/>
                  </a:lnTo>
                  <a:lnTo>
                    <a:pt x="135920" y="2864"/>
                  </a:lnTo>
                  <a:lnTo>
                    <a:pt x="136023" y="2761"/>
                  </a:lnTo>
                  <a:lnTo>
                    <a:pt x="134795" y="2659"/>
                  </a:lnTo>
                  <a:lnTo>
                    <a:pt x="134795" y="2455"/>
                  </a:lnTo>
                  <a:lnTo>
                    <a:pt x="134182" y="2557"/>
                  </a:lnTo>
                  <a:lnTo>
                    <a:pt x="134386" y="2352"/>
                  </a:lnTo>
                  <a:lnTo>
                    <a:pt x="133261" y="2250"/>
                  </a:lnTo>
                  <a:lnTo>
                    <a:pt x="133261" y="2250"/>
                  </a:lnTo>
                  <a:lnTo>
                    <a:pt x="133568" y="2864"/>
                  </a:lnTo>
                  <a:lnTo>
                    <a:pt x="133568" y="2864"/>
                  </a:lnTo>
                  <a:lnTo>
                    <a:pt x="132750" y="2455"/>
                  </a:lnTo>
                  <a:lnTo>
                    <a:pt x="131318" y="2455"/>
                  </a:lnTo>
                  <a:lnTo>
                    <a:pt x="131932" y="2250"/>
                  </a:lnTo>
                  <a:close/>
                  <a:moveTo>
                    <a:pt x="66682" y="4398"/>
                  </a:moveTo>
                  <a:lnTo>
                    <a:pt x="66784" y="4500"/>
                  </a:lnTo>
                  <a:lnTo>
                    <a:pt x="66477" y="4500"/>
                  </a:lnTo>
                  <a:lnTo>
                    <a:pt x="67091" y="4705"/>
                  </a:lnTo>
                  <a:lnTo>
                    <a:pt x="66784" y="4705"/>
                  </a:lnTo>
                  <a:lnTo>
                    <a:pt x="68232" y="4795"/>
                  </a:lnTo>
                  <a:lnTo>
                    <a:pt x="68232" y="4795"/>
                  </a:lnTo>
                  <a:lnTo>
                    <a:pt x="68625" y="4500"/>
                  </a:lnTo>
                  <a:lnTo>
                    <a:pt x="66682" y="4398"/>
                  </a:lnTo>
                  <a:close/>
                  <a:moveTo>
                    <a:pt x="68232" y="4795"/>
                  </a:moveTo>
                  <a:lnTo>
                    <a:pt x="68216" y="4807"/>
                  </a:lnTo>
                  <a:lnTo>
                    <a:pt x="68324" y="4801"/>
                  </a:lnTo>
                  <a:lnTo>
                    <a:pt x="68324" y="4801"/>
                  </a:lnTo>
                  <a:lnTo>
                    <a:pt x="68232" y="4795"/>
                  </a:lnTo>
                  <a:close/>
                  <a:moveTo>
                    <a:pt x="71489" y="4500"/>
                  </a:moveTo>
                  <a:lnTo>
                    <a:pt x="70568" y="4705"/>
                  </a:lnTo>
                  <a:lnTo>
                    <a:pt x="71080" y="4807"/>
                  </a:lnTo>
                  <a:lnTo>
                    <a:pt x="71489" y="4500"/>
                  </a:lnTo>
                  <a:close/>
                  <a:moveTo>
                    <a:pt x="81102" y="205"/>
                  </a:moveTo>
                  <a:lnTo>
                    <a:pt x="81614" y="409"/>
                  </a:lnTo>
                  <a:lnTo>
                    <a:pt x="80386" y="307"/>
                  </a:lnTo>
                  <a:lnTo>
                    <a:pt x="80489" y="409"/>
                  </a:lnTo>
                  <a:lnTo>
                    <a:pt x="79773" y="409"/>
                  </a:lnTo>
                  <a:lnTo>
                    <a:pt x="79977" y="511"/>
                  </a:lnTo>
                  <a:lnTo>
                    <a:pt x="79466" y="511"/>
                  </a:lnTo>
                  <a:lnTo>
                    <a:pt x="80693" y="920"/>
                  </a:lnTo>
                  <a:lnTo>
                    <a:pt x="80693" y="920"/>
                  </a:lnTo>
                  <a:lnTo>
                    <a:pt x="79159" y="716"/>
                  </a:lnTo>
                  <a:lnTo>
                    <a:pt x="77011" y="716"/>
                  </a:lnTo>
                  <a:lnTo>
                    <a:pt x="77727" y="818"/>
                  </a:lnTo>
                  <a:lnTo>
                    <a:pt x="73841" y="1023"/>
                  </a:lnTo>
                  <a:lnTo>
                    <a:pt x="73943" y="1125"/>
                  </a:lnTo>
                  <a:lnTo>
                    <a:pt x="74864" y="1023"/>
                  </a:lnTo>
                  <a:lnTo>
                    <a:pt x="74864" y="1023"/>
                  </a:lnTo>
                  <a:lnTo>
                    <a:pt x="74250" y="1125"/>
                  </a:lnTo>
                  <a:lnTo>
                    <a:pt x="75989" y="1125"/>
                  </a:lnTo>
                  <a:lnTo>
                    <a:pt x="74659" y="1227"/>
                  </a:lnTo>
                  <a:lnTo>
                    <a:pt x="74830" y="1313"/>
                  </a:lnTo>
                  <a:lnTo>
                    <a:pt x="74830" y="1313"/>
                  </a:lnTo>
                  <a:lnTo>
                    <a:pt x="77216" y="1227"/>
                  </a:lnTo>
                  <a:lnTo>
                    <a:pt x="74557" y="1534"/>
                  </a:lnTo>
                  <a:lnTo>
                    <a:pt x="74557" y="1534"/>
                  </a:lnTo>
                  <a:lnTo>
                    <a:pt x="78034" y="1330"/>
                  </a:lnTo>
                  <a:lnTo>
                    <a:pt x="75784" y="1739"/>
                  </a:lnTo>
                  <a:lnTo>
                    <a:pt x="75784" y="1739"/>
                  </a:lnTo>
                  <a:lnTo>
                    <a:pt x="78341" y="1636"/>
                  </a:lnTo>
                  <a:lnTo>
                    <a:pt x="78341" y="1636"/>
                  </a:lnTo>
                  <a:lnTo>
                    <a:pt x="77830" y="1739"/>
                  </a:lnTo>
                  <a:lnTo>
                    <a:pt x="81818" y="1125"/>
                  </a:lnTo>
                  <a:lnTo>
                    <a:pt x="81818" y="1125"/>
                  </a:lnTo>
                  <a:lnTo>
                    <a:pt x="80386" y="1534"/>
                  </a:lnTo>
                  <a:lnTo>
                    <a:pt x="81409" y="1534"/>
                  </a:lnTo>
                  <a:lnTo>
                    <a:pt x="77523" y="1943"/>
                  </a:lnTo>
                  <a:lnTo>
                    <a:pt x="78648" y="2352"/>
                  </a:lnTo>
                  <a:lnTo>
                    <a:pt x="78648" y="2352"/>
                  </a:lnTo>
                  <a:lnTo>
                    <a:pt x="75375" y="2045"/>
                  </a:lnTo>
                  <a:lnTo>
                    <a:pt x="75375" y="2352"/>
                  </a:lnTo>
                  <a:lnTo>
                    <a:pt x="76193" y="2761"/>
                  </a:lnTo>
                  <a:lnTo>
                    <a:pt x="75682" y="2761"/>
                  </a:lnTo>
                  <a:lnTo>
                    <a:pt x="77216" y="2864"/>
                  </a:lnTo>
                  <a:lnTo>
                    <a:pt x="75022" y="3201"/>
                  </a:lnTo>
                  <a:lnTo>
                    <a:pt x="75022" y="3201"/>
                  </a:lnTo>
                  <a:lnTo>
                    <a:pt x="74761" y="3375"/>
                  </a:lnTo>
                  <a:lnTo>
                    <a:pt x="75170" y="3477"/>
                  </a:lnTo>
                  <a:lnTo>
                    <a:pt x="74148" y="3682"/>
                  </a:lnTo>
                  <a:lnTo>
                    <a:pt x="74045" y="3886"/>
                  </a:lnTo>
                  <a:lnTo>
                    <a:pt x="75989" y="3580"/>
                  </a:lnTo>
                  <a:lnTo>
                    <a:pt x="73739" y="3989"/>
                  </a:lnTo>
                  <a:lnTo>
                    <a:pt x="73432" y="3682"/>
                  </a:lnTo>
                  <a:lnTo>
                    <a:pt x="72716" y="3682"/>
                  </a:lnTo>
                  <a:lnTo>
                    <a:pt x="72818" y="4193"/>
                  </a:lnTo>
                  <a:lnTo>
                    <a:pt x="71489" y="4500"/>
                  </a:lnTo>
                  <a:lnTo>
                    <a:pt x="71489" y="4500"/>
                  </a:lnTo>
                  <a:lnTo>
                    <a:pt x="71489" y="4500"/>
                  </a:lnTo>
                  <a:lnTo>
                    <a:pt x="71284" y="4807"/>
                  </a:lnTo>
                  <a:lnTo>
                    <a:pt x="71898" y="4705"/>
                  </a:lnTo>
                  <a:lnTo>
                    <a:pt x="71898" y="4807"/>
                  </a:lnTo>
                  <a:lnTo>
                    <a:pt x="75784" y="4807"/>
                  </a:lnTo>
                  <a:lnTo>
                    <a:pt x="75477" y="5011"/>
                  </a:lnTo>
                  <a:lnTo>
                    <a:pt x="75477" y="5011"/>
                  </a:lnTo>
                  <a:lnTo>
                    <a:pt x="77318" y="4705"/>
                  </a:lnTo>
                  <a:lnTo>
                    <a:pt x="77727" y="4398"/>
                  </a:lnTo>
                  <a:lnTo>
                    <a:pt x="77114" y="4398"/>
                  </a:lnTo>
                  <a:lnTo>
                    <a:pt x="77216" y="4193"/>
                  </a:lnTo>
                  <a:lnTo>
                    <a:pt x="75682" y="4091"/>
                  </a:lnTo>
                  <a:lnTo>
                    <a:pt x="76193" y="4091"/>
                  </a:lnTo>
                  <a:lnTo>
                    <a:pt x="76091" y="3989"/>
                  </a:lnTo>
                  <a:lnTo>
                    <a:pt x="78341" y="3886"/>
                  </a:lnTo>
                  <a:lnTo>
                    <a:pt x="78545" y="3580"/>
                  </a:lnTo>
                  <a:lnTo>
                    <a:pt x="80489" y="3375"/>
                  </a:lnTo>
                  <a:lnTo>
                    <a:pt x="79977" y="3170"/>
                  </a:lnTo>
                  <a:lnTo>
                    <a:pt x="81205" y="3068"/>
                  </a:lnTo>
                  <a:lnTo>
                    <a:pt x="79159" y="2761"/>
                  </a:lnTo>
                  <a:lnTo>
                    <a:pt x="81614" y="2659"/>
                  </a:lnTo>
                  <a:lnTo>
                    <a:pt x="80386" y="2455"/>
                  </a:lnTo>
                  <a:lnTo>
                    <a:pt x="82534" y="2352"/>
                  </a:lnTo>
                  <a:lnTo>
                    <a:pt x="81920" y="2250"/>
                  </a:lnTo>
                  <a:lnTo>
                    <a:pt x="83966" y="2250"/>
                  </a:lnTo>
                  <a:lnTo>
                    <a:pt x="83864" y="2148"/>
                  </a:lnTo>
                  <a:lnTo>
                    <a:pt x="84375" y="2045"/>
                  </a:lnTo>
                  <a:lnTo>
                    <a:pt x="83557" y="2045"/>
                  </a:lnTo>
                  <a:lnTo>
                    <a:pt x="84682" y="1943"/>
                  </a:lnTo>
                  <a:lnTo>
                    <a:pt x="84580" y="1739"/>
                  </a:lnTo>
                  <a:lnTo>
                    <a:pt x="88466" y="1125"/>
                  </a:lnTo>
                  <a:lnTo>
                    <a:pt x="86216" y="1330"/>
                  </a:lnTo>
                  <a:lnTo>
                    <a:pt x="90920" y="614"/>
                  </a:lnTo>
                  <a:lnTo>
                    <a:pt x="89898" y="511"/>
                  </a:lnTo>
                  <a:lnTo>
                    <a:pt x="90000" y="409"/>
                  </a:lnTo>
                  <a:lnTo>
                    <a:pt x="89795" y="409"/>
                  </a:lnTo>
                  <a:lnTo>
                    <a:pt x="89898" y="307"/>
                  </a:lnTo>
                  <a:lnTo>
                    <a:pt x="89898" y="307"/>
                  </a:lnTo>
                  <a:lnTo>
                    <a:pt x="87136" y="409"/>
                  </a:lnTo>
                  <a:lnTo>
                    <a:pt x="88466" y="205"/>
                  </a:lnTo>
                  <a:lnTo>
                    <a:pt x="84682" y="205"/>
                  </a:lnTo>
                  <a:lnTo>
                    <a:pt x="84989" y="409"/>
                  </a:lnTo>
                  <a:lnTo>
                    <a:pt x="82739" y="205"/>
                  </a:lnTo>
                  <a:lnTo>
                    <a:pt x="83352" y="409"/>
                  </a:lnTo>
                  <a:lnTo>
                    <a:pt x="83352" y="409"/>
                  </a:lnTo>
                  <a:lnTo>
                    <a:pt x="81102" y="205"/>
                  </a:lnTo>
                  <a:close/>
                  <a:moveTo>
                    <a:pt x="62898" y="4909"/>
                  </a:moveTo>
                  <a:lnTo>
                    <a:pt x="63205" y="5011"/>
                  </a:lnTo>
                  <a:lnTo>
                    <a:pt x="63205" y="4909"/>
                  </a:lnTo>
                  <a:close/>
                  <a:moveTo>
                    <a:pt x="55227" y="3989"/>
                  </a:moveTo>
                  <a:lnTo>
                    <a:pt x="55330" y="4091"/>
                  </a:lnTo>
                  <a:lnTo>
                    <a:pt x="50318" y="5011"/>
                  </a:lnTo>
                  <a:lnTo>
                    <a:pt x="50523" y="5011"/>
                  </a:lnTo>
                  <a:lnTo>
                    <a:pt x="50318" y="5216"/>
                  </a:lnTo>
                  <a:lnTo>
                    <a:pt x="50318" y="5216"/>
                  </a:lnTo>
                  <a:lnTo>
                    <a:pt x="51545" y="5011"/>
                  </a:lnTo>
                  <a:lnTo>
                    <a:pt x="51443" y="5318"/>
                  </a:lnTo>
                  <a:lnTo>
                    <a:pt x="54102" y="4500"/>
                  </a:lnTo>
                  <a:lnTo>
                    <a:pt x="53591" y="4909"/>
                  </a:lnTo>
                  <a:lnTo>
                    <a:pt x="53591" y="4909"/>
                  </a:lnTo>
                  <a:lnTo>
                    <a:pt x="56045" y="4091"/>
                  </a:lnTo>
                  <a:lnTo>
                    <a:pt x="55227" y="3989"/>
                  </a:lnTo>
                  <a:close/>
                  <a:moveTo>
                    <a:pt x="65761" y="4705"/>
                  </a:moveTo>
                  <a:lnTo>
                    <a:pt x="63818" y="4807"/>
                  </a:lnTo>
                  <a:lnTo>
                    <a:pt x="64227" y="4909"/>
                  </a:lnTo>
                  <a:lnTo>
                    <a:pt x="63920" y="4909"/>
                  </a:lnTo>
                  <a:lnTo>
                    <a:pt x="64330" y="5011"/>
                  </a:lnTo>
                  <a:lnTo>
                    <a:pt x="64023" y="5216"/>
                  </a:lnTo>
                  <a:lnTo>
                    <a:pt x="63205" y="5011"/>
                  </a:lnTo>
                  <a:lnTo>
                    <a:pt x="62898" y="5114"/>
                  </a:lnTo>
                  <a:lnTo>
                    <a:pt x="63000" y="5114"/>
                  </a:lnTo>
                  <a:lnTo>
                    <a:pt x="63102" y="5318"/>
                  </a:lnTo>
                  <a:lnTo>
                    <a:pt x="63102" y="5318"/>
                  </a:lnTo>
                  <a:lnTo>
                    <a:pt x="62489" y="5216"/>
                  </a:lnTo>
                  <a:lnTo>
                    <a:pt x="61875" y="5420"/>
                  </a:lnTo>
                  <a:lnTo>
                    <a:pt x="64125" y="5420"/>
                  </a:lnTo>
                  <a:lnTo>
                    <a:pt x="62898" y="5625"/>
                  </a:lnTo>
                  <a:lnTo>
                    <a:pt x="63102" y="5727"/>
                  </a:lnTo>
                  <a:lnTo>
                    <a:pt x="63000" y="5932"/>
                  </a:lnTo>
                  <a:lnTo>
                    <a:pt x="63000" y="5932"/>
                  </a:lnTo>
                  <a:lnTo>
                    <a:pt x="65148" y="5420"/>
                  </a:lnTo>
                  <a:lnTo>
                    <a:pt x="64943" y="5318"/>
                  </a:lnTo>
                  <a:lnTo>
                    <a:pt x="65761" y="4705"/>
                  </a:lnTo>
                  <a:close/>
                  <a:moveTo>
                    <a:pt x="209148" y="5011"/>
                  </a:moveTo>
                  <a:lnTo>
                    <a:pt x="209455" y="5420"/>
                  </a:lnTo>
                  <a:lnTo>
                    <a:pt x="207102" y="5216"/>
                  </a:lnTo>
                  <a:lnTo>
                    <a:pt x="207409" y="5318"/>
                  </a:lnTo>
                  <a:lnTo>
                    <a:pt x="207205" y="5318"/>
                  </a:lnTo>
                  <a:lnTo>
                    <a:pt x="207716" y="5625"/>
                  </a:lnTo>
                  <a:lnTo>
                    <a:pt x="207511" y="5625"/>
                  </a:lnTo>
                  <a:lnTo>
                    <a:pt x="211705" y="5932"/>
                  </a:lnTo>
                  <a:lnTo>
                    <a:pt x="210170" y="5420"/>
                  </a:lnTo>
                  <a:lnTo>
                    <a:pt x="210170" y="5420"/>
                  </a:lnTo>
                  <a:lnTo>
                    <a:pt x="212420" y="5727"/>
                  </a:lnTo>
                  <a:lnTo>
                    <a:pt x="212318" y="5523"/>
                  </a:lnTo>
                  <a:lnTo>
                    <a:pt x="209148" y="5011"/>
                  </a:lnTo>
                  <a:close/>
                  <a:moveTo>
                    <a:pt x="65148" y="5932"/>
                  </a:moveTo>
                  <a:lnTo>
                    <a:pt x="65966" y="6239"/>
                  </a:lnTo>
                  <a:lnTo>
                    <a:pt x="66989" y="5932"/>
                  </a:lnTo>
                  <a:close/>
                  <a:moveTo>
                    <a:pt x="59523" y="4500"/>
                  </a:moveTo>
                  <a:lnTo>
                    <a:pt x="58193" y="4807"/>
                  </a:lnTo>
                  <a:lnTo>
                    <a:pt x="58295" y="5011"/>
                  </a:lnTo>
                  <a:lnTo>
                    <a:pt x="57886" y="5216"/>
                  </a:lnTo>
                  <a:lnTo>
                    <a:pt x="58193" y="5420"/>
                  </a:lnTo>
                  <a:lnTo>
                    <a:pt x="56455" y="5216"/>
                  </a:lnTo>
                  <a:lnTo>
                    <a:pt x="56659" y="5216"/>
                  </a:lnTo>
                  <a:lnTo>
                    <a:pt x="55739" y="4909"/>
                  </a:lnTo>
                  <a:lnTo>
                    <a:pt x="55841" y="4807"/>
                  </a:lnTo>
                  <a:lnTo>
                    <a:pt x="54716" y="4909"/>
                  </a:lnTo>
                  <a:lnTo>
                    <a:pt x="55227" y="5011"/>
                  </a:lnTo>
                  <a:lnTo>
                    <a:pt x="53795" y="5216"/>
                  </a:lnTo>
                  <a:lnTo>
                    <a:pt x="54818" y="5216"/>
                  </a:lnTo>
                  <a:lnTo>
                    <a:pt x="53182" y="5420"/>
                  </a:lnTo>
                  <a:lnTo>
                    <a:pt x="54511" y="5318"/>
                  </a:lnTo>
                  <a:lnTo>
                    <a:pt x="52466" y="5727"/>
                  </a:lnTo>
                  <a:lnTo>
                    <a:pt x="53386" y="5932"/>
                  </a:lnTo>
                  <a:lnTo>
                    <a:pt x="53693" y="5830"/>
                  </a:lnTo>
                  <a:lnTo>
                    <a:pt x="53898" y="5932"/>
                  </a:lnTo>
                  <a:lnTo>
                    <a:pt x="54307" y="5830"/>
                  </a:lnTo>
                  <a:lnTo>
                    <a:pt x="54409" y="5727"/>
                  </a:lnTo>
                  <a:lnTo>
                    <a:pt x="55227" y="5625"/>
                  </a:lnTo>
                  <a:lnTo>
                    <a:pt x="54614" y="5830"/>
                  </a:lnTo>
                  <a:lnTo>
                    <a:pt x="56455" y="5727"/>
                  </a:lnTo>
                  <a:lnTo>
                    <a:pt x="56455" y="5727"/>
                  </a:lnTo>
                  <a:lnTo>
                    <a:pt x="54102" y="6136"/>
                  </a:lnTo>
                  <a:lnTo>
                    <a:pt x="54102" y="6341"/>
                  </a:lnTo>
                  <a:lnTo>
                    <a:pt x="57784" y="5932"/>
                  </a:lnTo>
                  <a:lnTo>
                    <a:pt x="57682" y="5932"/>
                  </a:lnTo>
                  <a:lnTo>
                    <a:pt x="59625" y="5727"/>
                  </a:lnTo>
                  <a:lnTo>
                    <a:pt x="60443" y="5114"/>
                  </a:lnTo>
                  <a:lnTo>
                    <a:pt x="58909" y="5318"/>
                  </a:lnTo>
                  <a:lnTo>
                    <a:pt x="59216" y="5114"/>
                  </a:lnTo>
                  <a:lnTo>
                    <a:pt x="58909" y="5114"/>
                  </a:lnTo>
                  <a:lnTo>
                    <a:pt x="59523" y="4500"/>
                  </a:lnTo>
                  <a:close/>
                  <a:moveTo>
                    <a:pt x="70057" y="4705"/>
                  </a:moveTo>
                  <a:lnTo>
                    <a:pt x="68324" y="4801"/>
                  </a:lnTo>
                  <a:lnTo>
                    <a:pt x="68324" y="4801"/>
                  </a:lnTo>
                  <a:lnTo>
                    <a:pt x="68420" y="4807"/>
                  </a:lnTo>
                  <a:lnTo>
                    <a:pt x="68420" y="5318"/>
                  </a:lnTo>
                  <a:lnTo>
                    <a:pt x="67909" y="5625"/>
                  </a:lnTo>
                  <a:lnTo>
                    <a:pt x="67807" y="5830"/>
                  </a:lnTo>
                  <a:lnTo>
                    <a:pt x="68420" y="6034"/>
                  </a:lnTo>
                  <a:lnTo>
                    <a:pt x="68318" y="6136"/>
                  </a:lnTo>
                  <a:lnTo>
                    <a:pt x="69955" y="6136"/>
                  </a:lnTo>
                  <a:lnTo>
                    <a:pt x="69648" y="6341"/>
                  </a:lnTo>
                  <a:lnTo>
                    <a:pt x="75580" y="6034"/>
                  </a:lnTo>
                  <a:lnTo>
                    <a:pt x="75068" y="5932"/>
                  </a:lnTo>
                  <a:lnTo>
                    <a:pt x="75580" y="5523"/>
                  </a:lnTo>
                  <a:lnTo>
                    <a:pt x="74966" y="5420"/>
                  </a:lnTo>
                  <a:lnTo>
                    <a:pt x="75068" y="5318"/>
                  </a:lnTo>
                  <a:lnTo>
                    <a:pt x="71898" y="5523"/>
                  </a:lnTo>
                  <a:lnTo>
                    <a:pt x="72000" y="5625"/>
                  </a:lnTo>
                  <a:lnTo>
                    <a:pt x="70261" y="5420"/>
                  </a:lnTo>
                  <a:lnTo>
                    <a:pt x="70159" y="5523"/>
                  </a:lnTo>
                  <a:lnTo>
                    <a:pt x="69750" y="5523"/>
                  </a:lnTo>
                  <a:lnTo>
                    <a:pt x="70261" y="5318"/>
                  </a:lnTo>
                  <a:lnTo>
                    <a:pt x="69239" y="4909"/>
                  </a:lnTo>
                  <a:lnTo>
                    <a:pt x="70568" y="4909"/>
                  </a:lnTo>
                  <a:lnTo>
                    <a:pt x="69443" y="4807"/>
                  </a:lnTo>
                  <a:lnTo>
                    <a:pt x="70057" y="4705"/>
                  </a:lnTo>
                  <a:close/>
                  <a:moveTo>
                    <a:pt x="165273" y="4705"/>
                  </a:moveTo>
                  <a:lnTo>
                    <a:pt x="160773" y="4909"/>
                  </a:lnTo>
                  <a:lnTo>
                    <a:pt x="160875" y="5011"/>
                  </a:lnTo>
                  <a:lnTo>
                    <a:pt x="160364" y="5114"/>
                  </a:lnTo>
                  <a:lnTo>
                    <a:pt x="159341" y="5420"/>
                  </a:lnTo>
                  <a:lnTo>
                    <a:pt x="158727" y="5625"/>
                  </a:lnTo>
                  <a:lnTo>
                    <a:pt x="158830" y="5727"/>
                  </a:lnTo>
                  <a:lnTo>
                    <a:pt x="158216" y="5830"/>
                  </a:lnTo>
                  <a:lnTo>
                    <a:pt x="158727" y="5932"/>
                  </a:lnTo>
                  <a:lnTo>
                    <a:pt x="158318" y="6239"/>
                  </a:lnTo>
                  <a:lnTo>
                    <a:pt x="158727" y="6341"/>
                  </a:lnTo>
                  <a:lnTo>
                    <a:pt x="158318" y="6443"/>
                  </a:lnTo>
                  <a:lnTo>
                    <a:pt x="158114" y="6648"/>
                  </a:lnTo>
                  <a:lnTo>
                    <a:pt x="157602" y="6955"/>
                  </a:lnTo>
                  <a:lnTo>
                    <a:pt x="158114" y="7261"/>
                  </a:lnTo>
                  <a:lnTo>
                    <a:pt x="160057" y="7057"/>
                  </a:lnTo>
                  <a:lnTo>
                    <a:pt x="159750" y="6852"/>
                  </a:lnTo>
                  <a:lnTo>
                    <a:pt x="160159" y="6341"/>
                  </a:lnTo>
                  <a:lnTo>
                    <a:pt x="160875" y="6239"/>
                  </a:lnTo>
                  <a:lnTo>
                    <a:pt x="160875" y="6136"/>
                  </a:lnTo>
                  <a:lnTo>
                    <a:pt x="161182" y="6034"/>
                  </a:lnTo>
                  <a:lnTo>
                    <a:pt x="160977" y="5932"/>
                  </a:lnTo>
                  <a:lnTo>
                    <a:pt x="165273" y="4705"/>
                  </a:lnTo>
                  <a:close/>
                  <a:moveTo>
                    <a:pt x="212114" y="6852"/>
                  </a:moveTo>
                  <a:lnTo>
                    <a:pt x="211500" y="7261"/>
                  </a:lnTo>
                  <a:lnTo>
                    <a:pt x="214057" y="7364"/>
                  </a:lnTo>
                  <a:lnTo>
                    <a:pt x="212114" y="6852"/>
                  </a:lnTo>
                  <a:close/>
                  <a:moveTo>
                    <a:pt x="177955" y="7159"/>
                  </a:moveTo>
                  <a:lnTo>
                    <a:pt x="178568" y="7466"/>
                  </a:lnTo>
                  <a:lnTo>
                    <a:pt x="177852" y="7261"/>
                  </a:lnTo>
                  <a:lnTo>
                    <a:pt x="177955" y="7159"/>
                  </a:lnTo>
                  <a:close/>
                  <a:moveTo>
                    <a:pt x="58602" y="6955"/>
                  </a:moveTo>
                  <a:lnTo>
                    <a:pt x="57375" y="7159"/>
                  </a:lnTo>
                  <a:lnTo>
                    <a:pt x="57784" y="7568"/>
                  </a:lnTo>
                  <a:lnTo>
                    <a:pt x="58602" y="7261"/>
                  </a:lnTo>
                  <a:lnTo>
                    <a:pt x="58602" y="6955"/>
                  </a:lnTo>
                  <a:close/>
                  <a:moveTo>
                    <a:pt x="108307" y="7568"/>
                  </a:moveTo>
                  <a:lnTo>
                    <a:pt x="108211" y="7587"/>
                  </a:lnTo>
                  <a:lnTo>
                    <a:pt x="108211" y="7587"/>
                  </a:lnTo>
                  <a:lnTo>
                    <a:pt x="108381" y="7603"/>
                  </a:lnTo>
                  <a:lnTo>
                    <a:pt x="108381" y="7603"/>
                  </a:lnTo>
                  <a:lnTo>
                    <a:pt x="108307" y="7568"/>
                  </a:lnTo>
                  <a:close/>
                  <a:moveTo>
                    <a:pt x="73636" y="7159"/>
                  </a:moveTo>
                  <a:lnTo>
                    <a:pt x="74659" y="7670"/>
                  </a:lnTo>
                  <a:lnTo>
                    <a:pt x="76193" y="7670"/>
                  </a:lnTo>
                  <a:lnTo>
                    <a:pt x="76193" y="7466"/>
                  </a:lnTo>
                  <a:lnTo>
                    <a:pt x="75989" y="7261"/>
                  </a:lnTo>
                  <a:lnTo>
                    <a:pt x="73636" y="7159"/>
                  </a:lnTo>
                  <a:close/>
                  <a:moveTo>
                    <a:pt x="108381" y="7603"/>
                  </a:moveTo>
                  <a:lnTo>
                    <a:pt x="109841" y="8284"/>
                  </a:lnTo>
                  <a:lnTo>
                    <a:pt x="110250" y="7773"/>
                  </a:lnTo>
                  <a:lnTo>
                    <a:pt x="108381" y="7603"/>
                  </a:lnTo>
                  <a:close/>
                  <a:moveTo>
                    <a:pt x="68011" y="6852"/>
                  </a:moveTo>
                  <a:lnTo>
                    <a:pt x="64227" y="7364"/>
                  </a:lnTo>
                  <a:lnTo>
                    <a:pt x="63511" y="8386"/>
                  </a:lnTo>
                  <a:lnTo>
                    <a:pt x="63511" y="8386"/>
                  </a:lnTo>
                  <a:lnTo>
                    <a:pt x="64534" y="8182"/>
                  </a:lnTo>
                  <a:lnTo>
                    <a:pt x="64739" y="7773"/>
                  </a:lnTo>
                  <a:lnTo>
                    <a:pt x="65352" y="7773"/>
                  </a:lnTo>
                  <a:lnTo>
                    <a:pt x="68011" y="6852"/>
                  </a:lnTo>
                  <a:close/>
                  <a:moveTo>
                    <a:pt x="216716" y="8182"/>
                  </a:moveTo>
                  <a:lnTo>
                    <a:pt x="217227" y="8489"/>
                  </a:lnTo>
                  <a:lnTo>
                    <a:pt x="217330" y="8182"/>
                  </a:lnTo>
                  <a:close/>
                  <a:moveTo>
                    <a:pt x="62080" y="6852"/>
                  </a:moveTo>
                  <a:lnTo>
                    <a:pt x="60852" y="7159"/>
                  </a:lnTo>
                  <a:lnTo>
                    <a:pt x="61568" y="7364"/>
                  </a:lnTo>
                  <a:lnTo>
                    <a:pt x="61057" y="7466"/>
                  </a:lnTo>
                  <a:lnTo>
                    <a:pt x="61057" y="7568"/>
                  </a:lnTo>
                  <a:lnTo>
                    <a:pt x="60341" y="7773"/>
                  </a:lnTo>
                  <a:lnTo>
                    <a:pt x="60034" y="7466"/>
                  </a:lnTo>
                  <a:lnTo>
                    <a:pt x="59420" y="7773"/>
                  </a:lnTo>
                  <a:lnTo>
                    <a:pt x="59727" y="8182"/>
                  </a:lnTo>
                  <a:lnTo>
                    <a:pt x="60136" y="8284"/>
                  </a:lnTo>
                  <a:lnTo>
                    <a:pt x="60443" y="8898"/>
                  </a:lnTo>
                  <a:lnTo>
                    <a:pt x="61159" y="8898"/>
                  </a:lnTo>
                  <a:lnTo>
                    <a:pt x="61364" y="8489"/>
                  </a:lnTo>
                  <a:lnTo>
                    <a:pt x="62182" y="8591"/>
                  </a:lnTo>
                  <a:lnTo>
                    <a:pt x="63205" y="7773"/>
                  </a:lnTo>
                  <a:lnTo>
                    <a:pt x="62795" y="7875"/>
                  </a:lnTo>
                  <a:lnTo>
                    <a:pt x="62795" y="7670"/>
                  </a:lnTo>
                  <a:lnTo>
                    <a:pt x="62898" y="7670"/>
                  </a:lnTo>
                  <a:lnTo>
                    <a:pt x="62182" y="7568"/>
                  </a:lnTo>
                  <a:lnTo>
                    <a:pt x="63409" y="7261"/>
                  </a:lnTo>
                  <a:lnTo>
                    <a:pt x="63205" y="7159"/>
                  </a:lnTo>
                  <a:lnTo>
                    <a:pt x="63511" y="6852"/>
                  </a:lnTo>
                  <a:close/>
                  <a:moveTo>
                    <a:pt x="47250" y="6443"/>
                  </a:moveTo>
                  <a:lnTo>
                    <a:pt x="47148" y="6852"/>
                  </a:lnTo>
                  <a:lnTo>
                    <a:pt x="43977" y="8386"/>
                  </a:lnTo>
                  <a:lnTo>
                    <a:pt x="44284" y="8386"/>
                  </a:lnTo>
                  <a:lnTo>
                    <a:pt x="44898" y="8693"/>
                  </a:lnTo>
                  <a:lnTo>
                    <a:pt x="44795" y="9102"/>
                  </a:lnTo>
                  <a:lnTo>
                    <a:pt x="44795" y="9102"/>
                  </a:lnTo>
                  <a:lnTo>
                    <a:pt x="51955" y="7159"/>
                  </a:lnTo>
                  <a:lnTo>
                    <a:pt x="51545" y="6545"/>
                  </a:lnTo>
                  <a:lnTo>
                    <a:pt x="50318" y="6750"/>
                  </a:lnTo>
                  <a:lnTo>
                    <a:pt x="50420" y="6545"/>
                  </a:lnTo>
                  <a:lnTo>
                    <a:pt x="50011" y="6648"/>
                  </a:lnTo>
                  <a:lnTo>
                    <a:pt x="50216" y="6545"/>
                  </a:lnTo>
                  <a:lnTo>
                    <a:pt x="47250" y="6443"/>
                  </a:lnTo>
                  <a:close/>
                  <a:moveTo>
                    <a:pt x="158625" y="7261"/>
                  </a:moveTo>
                  <a:lnTo>
                    <a:pt x="157602" y="7875"/>
                  </a:lnTo>
                  <a:lnTo>
                    <a:pt x="157500" y="8182"/>
                  </a:lnTo>
                  <a:lnTo>
                    <a:pt x="156989" y="8284"/>
                  </a:lnTo>
                  <a:lnTo>
                    <a:pt x="159034" y="9102"/>
                  </a:lnTo>
                  <a:lnTo>
                    <a:pt x="158830" y="9102"/>
                  </a:lnTo>
                  <a:lnTo>
                    <a:pt x="158830" y="9205"/>
                  </a:lnTo>
                  <a:lnTo>
                    <a:pt x="158727" y="9205"/>
                  </a:lnTo>
                  <a:lnTo>
                    <a:pt x="158727" y="9307"/>
                  </a:lnTo>
                  <a:lnTo>
                    <a:pt x="158625" y="9307"/>
                  </a:lnTo>
                  <a:lnTo>
                    <a:pt x="160773" y="9614"/>
                  </a:lnTo>
                  <a:lnTo>
                    <a:pt x="160773" y="9614"/>
                  </a:lnTo>
                  <a:lnTo>
                    <a:pt x="160568" y="9511"/>
                  </a:lnTo>
                  <a:lnTo>
                    <a:pt x="161489" y="9511"/>
                  </a:lnTo>
                  <a:lnTo>
                    <a:pt x="159239" y="8080"/>
                  </a:lnTo>
                  <a:lnTo>
                    <a:pt x="159341" y="7773"/>
                  </a:lnTo>
                  <a:lnTo>
                    <a:pt x="159545" y="7670"/>
                  </a:lnTo>
                  <a:lnTo>
                    <a:pt x="159545" y="7466"/>
                  </a:lnTo>
                  <a:lnTo>
                    <a:pt x="158625" y="7261"/>
                  </a:lnTo>
                  <a:close/>
                  <a:moveTo>
                    <a:pt x="18920" y="9818"/>
                  </a:moveTo>
                  <a:lnTo>
                    <a:pt x="18511" y="9920"/>
                  </a:lnTo>
                  <a:lnTo>
                    <a:pt x="18511" y="9920"/>
                  </a:lnTo>
                  <a:lnTo>
                    <a:pt x="18637" y="9901"/>
                  </a:lnTo>
                  <a:lnTo>
                    <a:pt x="18637" y="9901"/>
                  </a:lnTo>
                  <a:lnTo>
                    <a:pt x="18920" y="9818"/>
                  </a:lnTo>
                  <a:close/>
                  <a:moveTo>
                    <a:pt x="137352" y="10125"/>
                  </a:moveTo>
                  <a:lnTo>
                    <a:pt x="137352" y="10125"/>
                  </a:lnTo>
                  <a:lnTo>
                    <a:pt x="137352" y="10125"/>
                  </a:lnTo>
                  <a:close/>
                  <a:moveTo>
                    <a:pt x="88977" y="9818"/>
                  </a:moveTo>
                  <a:lnTo>
                    <a:pt x="88670" y="10125"/>
                  </a:lnTo>
                  <a:lnTo>
                    <a:pt x="88466" y="10125"/>
                  </a:lnTo>
                  <a:lnTo>
                    <a:pt x="88364" y="10432"/>
                  </a:lnTo>
                  <a:lnTo>
                    <a:pt x="88875" y="10534"/>
                  </a:lnTo>
                  <a:lnTo>
                    <a:pt x="88568" y="10636"/>
                  </a:lnTo>
                  <a:lnTo>
                    <a:pt x="89489" y="10636"/>
                  </a:lnTo>
                  <a:lnTo>
                    <a:pt x="90000" y="10227"/>
                  </a:lnTo>
                  <a:lnTo>
                    <a:pt x="88977" y="9818"/>
                  </a:lnTo>
                  <a:close/>
                  <a:moveTo>
                    <a:pt x="52466" y="7261"/>
                  </a:moveTo>
                  <a:lnTo>
                    <a:pt x="48170" y="8591"/>
                  </a:lnTo>
                  <a:lnTo>
                    <a:pt x="48784" y="8693"/>
                  </a:lnTo>
                  <a:lnTo>
                    <a:pt x="48375" y="8898"/>
                  </a:lnTo>
                  <a:lnTo>
                    <a:pt x="50216" y="8795"/>
                  </a:lnTo>
                  <a:lnTo>
                    <a:pt x="50216" y="8795"/>
                  </a:lnTo>
                  <a:lnTo>
                    <a:pt x="49705" y="8898"/>
                  </a:lnTo>
                  <a:lnTo>
                    <a:pt x="49807" y="8898"/>
                  </a:lnTo>
                  <a:lnTo>
                    <a:pt x="47761" y="9307"/>
                  </a:lnTo>
                  <a:lnTo>
                    <a:pt x="51545" y="9818"/>
                  </a:lnTo>
                  <a:lnTo>
                    <a:pt x="48273" y="9920"/>
                  </a:lnTo>
                  <a:lnTo>
                    <a:pt x="47557" y="10534"/>
                  </a:lnTo>
                  <a:lnTo>
                    <a:pt x="49193" y="10739"/>
                  </a:lnTo>
                  <a:lnTo>
                    <a:pt x="48989" y="11352"/>
                  </a:lnTo>
                  <a:lnTo>
                    <a:pt x="54102" y="10534"/>
                  </a:lnTo>
                  <a:lnTo>
                    <a:pt x="54102" y="10739"/>
                  </a:lnTo>
                  <a:lnTo>
                    <a:pt x="54818" y="10841"/>
                  </a:lnTo>
                  <a:lnTo>
                    <a:pt x="54614" y="10943"/>
                  </a:lnTo>
                  <a:lnTo>
                    <a:pt x="56148" y="11045"/>
                  </a:lnTo>
                  <a:lnTo>
                    <a:pt x="57170" y="10534"/>
                  </a:lnTo>
                  <a:lnTo>
                    <a:pt x="56250" y="10739"/>
                  </a:lnTo>
                  <a:lnTo>
                    <a:pt x="56455" y="10534"/>
                  </a:lnTo>
                  <a:lnTo>
                    <a:pt x="56352" y="10432"/>
                  </a:lnTo>
                  <a:lnTo>
                    <a:pt x="58295" y="10023"/>
                  </a:lnTo>
                  <a:lnTo>
                    <a:pt x="57989" y="9920"/>
                  </a:lnTo>
                  <a:lnTo>
                    <a:pt x="57989" y="9818"/>
                  </a:lnTo>
                  <a:lnTo>
                    <a:pt x="56864" y="9409"/>
                  </a:lnTo>
                  <a:lnTo>
                    <a:pt x="57682" y="7670"/>
                  </a:lnTo>
                  <a:lnTo>
                    <a:pt x="56455" y="7364"/>
                  </a:lnTo>
                  <a:lnTo>
                    <a:pt x="55739" y="8489"/>
                  </a:lnTo>
                  <a:lnTo>
                    <a:pt x="55023" y="8693"/>
                  </a:lnTo>
                  <a:lnTo>
                    <a:pt x="55023" y="8693"/>
                  </a:lnTo>
                  <a:lnTo>
                    <a:pt x="55227" y="7875"/>
                  </a:lnTo>
                  <a:lnTo>
                    <a:pt x="54614" y="7773"/>
                  </a:lnTo>
                  <a:lnTo>
                    <a:pt x="53591" y="8080"/>
                  </a:lnTo>
                  <a:lnTo>
                    <a:pt x="53693" y="7977"/>
                  </a:lnTo>
                  <a:lnTo>
                    <a:pt x="53182" y="8080"/>
                  </a:lnTo>
                  <a:lnTo>
                    <a:pt x="53182" y="8080"/>
                  </a:lnTo>
                  <a:lnTo>
                    <a:pt x="53898" y="7773"/>
                  </a:lnTo>
                  <a:lnTo>
                    <a:pt x="51750" y="7875"/>
                  </a:lnTo>
                  <a:lnTo>
                    <a:pt x="52466" y="7261"/>
                  </a:lnTo>
                  <a:close/>
                  <a:moveTo>
                    <a:pt x="60341" y="10330"/>
                  </a:moveTo>
                  <a:lnTo>
                    <a:pt x="58602" y="10841"/>
                  </a:lnTo>
                  <a:lnTo>
                    <a:pt x="59114" y="11148"/>
                  </a:lnTo>
                  <a:lnTo>
                    <a:pt x="60136" y="11352"/>
                  </a:lnTo>
                  <a:lnTo>
                    <a:pt x="61159" y="11045"/>
                  </a:lnTo>
                  <a:lnTo>
                    <a:pt x="60239" y="10432"/>
                  </a:lnTo>
                  <a:lnTo>
                    <a:pt x="60341" y="10330"/>
                  </a:lnTo>
                  <a:close/>
                  <a:moveTo>
                    <a:pt x="175193" y="11250"/>
                  </a:moveTo>
                  <a:lnTo>
                    <a:pt x="176114" y="11557"/>
                  </a:lnTo>
                  <a:lnTo>
                    <a:pt x="176114" y="12068"/>
                  </a:lnTo>
                  <a:lnTo>
                    <a:pt x="177136" y="12170"/>
                  </a:lnTo>
                  <a:lnTo>
                    <a:pt x="177136" y="12170"/>
                  </a:lnTo>
                  <a:lnTo>
                    <a:pt x="176011" y="12068"/>
                  </a:lnTo>
                  <a:lnTo>
                    <a:pt x="175193" y="11250"/>
                  </a:lnTo>
                  <a:close/>
                  <a:moveTo>
                    <a:pt x="73023" y="11557"/>
                  </a:moveTo>
                  <a:lnTo>
                    <a:pt x="72307" y="12375"/>
                  </a:lnTo>
                  <a:lnTo>
                    <a:pt x="73432" y="12375"/>
                  </a:lnTo>
                  <a:lnTo>
                    <a:pt x="74148" y="11659"/>
                  </a:lnTo>
                  <a:lnTo>
                    <a:pt x="73023" y="11557"/>
                  </a:lnTo>
                  <a:close/>
                  <a:moveTo>
                    <a:pt x="108409" y="13295"/>
                  </a:moveTo>
                  <a:lnTo>
                    <a:pt x="108716" y="13398"/>
                  </a:lnTo>
                  <a:lnTo>
                    <a:pt x="108818" y="13398"/>
                  </a:lnTo>
                  <a:lnTo>
                    <a:pt x="108409" y="13295"/>
                  </a:lnTo>
                  <a:close/>
                  <a:moveTo>
                    <a:pt x="9205" y="13807"/>
                  </a:moveTo>
                  <a:lnTo>
                    <a:pt x="9102" y="13909"/>
                  </a:lnTo>
                  <a:lnTo>
                    <a:pt x="9205" y="13909"/>
                  </a:lnTo>
                  <a:lnTo>
                    <a:pt x="9205" y="13807"/>
                  </a:lnTo>
                  <a:close/>
                  <a:moveTo>
                    <a:pt x="5420" y="11045"/>
                  </a:moveTo>
                  <a:lnTo>
                    <a:pt x="0" y="14420"/>
                  </a:lnTo>
                  <a:lnTo>
                    <a:pt x="511" y="14318"/>
                  </a:lnTo>
                  <a:lnTo>
                    <a:pt x="1227" y="13909"/>
                  </a:lnTo>
                  <a:lnTo>
                    <a:pt x="1227" y="13705"/>
                  </a:lnTo>
                  <a:lnTo>
                    <a:pt x="1739" y="13398"/>
                  </a:lnTo>
                  <a:lnTo>
                    <a:pt x="1636" y="13500"/>
                  </a:lnTo>
                  <a:lnTo>
                    <a:pt x="2352" y="13295"/>
                  </a:lnTo>
                  <a:lnTo>
                    <a:pt x="2148" y="13398"/>
                  </a:lnTo>
                  <a:lnTo>
                    <a:pt x="2761" y="13193"/>
                  </a:lnTo>
                  <a:lnTo>
                    <a:pt x="2761" y="13193"/>
                  </a:lnTo>
                  <a:lnTo>
                    <a:pt x="1636" y="14011"/>
                  </a:lnTo>
                  <a:lnTo>
                    <a:pt x="3273" y="14114"/>
                  </a:lnTo>
                  <a:lnTo>
                    <a:pt x="3068" y="14625"/>
                  </a:lnTo>
                  <a:lnTo>
                    <a:pt x="3375" y="15034"/>
                  </a:lnTo>
                  <a:lnTo>
                    <a:pt x="3989" y="14932"/>
                  </a:lnTo>
                  <a:lnTo>
                    <a:pt x="3682" y="15136"/>
                  </a:lnTo>
                  <a:lnTo>
                    <a:pt x="4295" y="14932"/>
                  </a:lnTo>
                  <a:lnTo>
                    <a:pt x="4193" y="15034"/>
                  </a:lnTo>
                  <a:lnTo>
                    <a:pt x="4193" y="15034"/>
                  </a:lnTo>
                  <a:lnTo>
                    <a:pt x="4602" y="14727"/>
                  </a:lnTo>
                  <a:lnTo>
                    <a:pt x="4500" y="14625"/>
                  </a:lnTo>
                  <a:lnTo>
                    <a:pt x="5523" y="14318"/>
                  </a:lnTo>
                  <a:lnTo>
                    <a:pt x="5318" y="14318"/>
                  </a:lnTo>
                  <a:lnTo>
                    <a:pt x="5830" y="14114"/>
                  </a:lnTo>
                  <a:lnTo>
                    <a:pt x="5727" y="14114"/>
                  </a:lnTo>
                  <a:lnTo>
                    <a:pt x="5727" y="13909"/>
                  </a:lnTo>
                  <a:lnTo>
                    <a:pt x="6136" y="14011"/>
                  </a:lnTo>
                  <a:lnTo>
                    <a:pt x="6750" y="14011"/>
                  </a:lnTo>
                  <a:lnTo>
                    <a:pt x="6852" y="13807"/>
                  </a:lnTo>
                  <a:lnTo>
                    <a:pt x="7159" y="13909"/>
                  </a:lnTo>
                  <a:lnTo>
                    <a:pt x="8386" y="13500"/>
                  </a:lnTo>
                  <a:lnTo>
                    <a:pt x="8080" y="13398"/>
                  </a:lnTo>
                  <a:lnTo>
                    <a:pt x="7977" y="13398"/>
                  </a:lnTo>
                  <a:lnTo>
                    <a:pt x="8080" y="13193"/>
                  </a:lnTo>
                  <a:lnTo>
                    <a:pt x="8080" y="12886"/>
                  </a:lnTo>
                  <a:lnTo>
                    <a:pt x="7364" y="12682"/>
                  </a:lnTo>
                  <a:lnTo>
                    <a:pt x="7364" y="12682"/>
                  </a:lnTo>
                  <a:lnTo>
                    <a:pt x="7568" y="12784"/>
                  </a:lnTo>
                  <a:lnTo>
                    <a:pt x="6852" y="12886"/>
                  </a:lnTo>
                  <a:lnTo>
                    <a:pt x="7261" y="12682"/>
                  </a:lnTo>
                  <a:lnTo>
                    <a:pt x="6341" y="12682"/>
                  </a:lnTo>
                  <a:lnTo>
                    <a:pt x="6034" y="12989"/>
                  </a:lnTo>
                  <a:lnTo>
                    <a:pt x="6034" y="13193"/>
                  </a:lnTo>
                  <a:lnTo>
                    <a:pt x="5625" y="13398"/>
                  </a:lnTo>
                  <a:lnTo>
                    <a:pt x="5625" y="13398"/>
                  </a:lnTo>
                  <a:lnTo>
                    <a:pt x="5932" y="13193"/>
                  </a:lnTo>
                  <a:lnTo>
                    <a:pt x="5523" y="13295"/>
                  </a:lnTo>
                  <a:lnTo>
                    <a:pt x="5523" y="13091"/>
                  </a:lnTo>
                  <a:lnTo>
                    <a:pt x="6545" y="12375"/>
                  </a:lnTo>
                  <a:lnTo>
                    <a:pt x="6136" y="12375"/>
                  </a:lnTo>
                  <a:lnTo>
                    <a:pt x="6648" y="12068"/>
                  </a:lnTo>
                  <a:lnTo>
                    <a:pt x="5830" y="11659"/>
                  </a:lnTo>
                  <a:lnTo>
                    <a:pt x="5932" y="11557"/>
                  </a:lnTo>
                  <a:lnTo>
                    <a:pt x="5727" y="11352"/>
                  </a:lnTo>
                  <a:lnTo>
                    <a:pt x="5523" y="11557"/>
                  </a:lnTo>
                  <a:lnTo>
                    <a:pt x="5523" y="11352"/>
                  </a:lnTo>
                  <a:lnTo>
                    <a:pt x="5625" y="11250"/>
                  </a:lnTo>
                  <a:lnTo>
                    <a:pt x="5420" y="11045"/>
                  </a:lnTo>
                  <a:close/>
                  <a:moveTo>
                    <a:pt x="113011" y="13193"/>
                  </a:moveTo>
                  <a:lnTo>
                    <a:pt x="112807" y="13398"/>
                  </a:lnTo>
                  <a:lnTo>
                    <a:pt x="112500" y="13398"/>
                  </a:lnTo>
                  <a:lnTo>
                    <a:pt x="112193" y="13602"/>
                  </a:lnTo>
                  <a:lnTo>
                    <a:pt x="111682" y="13500"/>
                  </a:lnTo>
                  <a:lnTo>
                    <a:pt x="111682" y="13500"/>
                  </a:lnTo>
                  <a:lnTo>
                    <a:pt x="111784" y="13807"/>
                  </a:lnTo>
                  <a:lnTo>
                    <a:pt x="111170" y="13500"/>
                  </a:lnTo>
                  <a:lnTo>
                    <a:pt x="110864" y="13500"/>
                  </a:lnTo>
                  <a:lnTo>
                    <a:pt x="110864" y="13807"/>
                  </a:lnTo>
                  <a:lnTo>
                    <a:pt x="110250" y="13602"/>
                  </a:lnTo>
                  <a:lnTo>
                    <a:pt x="110148" y="14011"/>
                  </a:lnTo>
                  <a:lnTo>
                    <a:pt x="109739" y="14011"/>
                  </a:lnTo>
                  <a:lnTo>
                    <a:pt x="109636" y="14216"/>
                  </a:lnTo>
                  <a:lnTo>
                    <a:pt x="109432" y="14114"/>
                  </a:lnTo>
                  <a:lnTo>
                    <a:pt x="109534" y="14011"/>
                  </a:lnTo>
                  <a:lnTo>
                    <a:pt x="109330" y="13807"/>
                  </a:lnTo>
                  <a:lnTo>
                    <a:pt x="109534" y="13602"/>
                  </a:lnTo>
                  <a:lnTo>
                    <a:pt x="108716" y="13398"/>
                  </a:lnTo>
                  <a:lnTo>
                    <a:pt x="108511" y="13398"/>
                  </a:lnTo>
                  <a:lnTo>
                    <a:pt x="108716" y="13705"/>
                  </a:lnTo>
                  <a:lnTo>
                    <a:pt x="108102" y="13500"/>
                  </a:lnTo>
                  <a:lnTo>
                    <a:pt x="108102" y="13500"/>
                  </a:lnTo>
                  <a:lnTo>
                    <a:pt x="108205" y="13602"/>
                  </a:lnTo>
                  <a:lnTo>
                    <a:pt x="108102" y="13705"/>
                  </a:lnTo>
                  <a:lnTo>
                    <a:pt x="107898" y="13705"/>
                  </a:lnTo>
                  <a:lnTo>
                    <a:pt x="108205" y="13807"/>
                  </a:lnTo>
                  <a:lnTo>
                    <a:pt x="107693" y="13807"/>
                  </a:lnTo>
                  <a:lnTo>
                    <a:pt x="107795" y="14011"/>
                  </a:lnTo>
                  <a:lnTo>
                    <a:pt x="107386" y="14011"/>
                  </a:lnTo>
                  <a:lnTo>
                    <a:pt x="109125" y="14114"/>
                  </a:lnTo>
                  <a:lnTo>
                    <a:pt x="108614" y="14318"/>
                  </a:lnTo>
                  <a:lnTo>
                    <a:pt x="109125" y="14318"/>
                  </a:lnTo>
                  <a:lnTo>
                    <a:pt x="109125" y="14420"/>
                  </a:lnTo>
                  <a:lnTo>
                    <a:pt x="107898" y="14523"/>
                  </a:lnTo>
                  <a:lnTo>
                    <a:pt x="107795" y="14727"/>
                  </a:lnTo>
                  <a:lnTo>
                    <a:pt x="109227" y="14830"/>
                  </a:lnTo>
                  <a:lnTo>
                    <a:pt x="108818" y="15136"/>
                  </a:lnTo>
                  <a:lnTo>
                    <a:pt x="109227" y="15034"/>
                  </a:lnTo>
                  <a:lnTo>
                    <a:pt x="108307" y="15341"/>
                  </a:lnTo>
                  <a:lnTo>
                    <a:pt x="108716" y="15545"/>
                  </a:lnTo>
                  <a:lnTo>
                    <a:pt x="109432" y="15443"/>
                  </a:lnTo>
                  <a:lnTo>
                    <a:pt x="111375" y="15852"/>
                  </a:lnTo>
                  <a:lnTo>
                    <a:pt x="114648" y="14625"/>
                  </a:lnTo>
                  <a:lnTo>
                    <a:pt x="114648" y="14216"/>
                  </a:lnTo>
                  <a:lnTo>
                    <a:pt x="114034" y="13807"/>
                  </a:lnTo>
                  <a:lnTo>
                    <a:pt x="113830" y="13500"/>
                  </a:lnTo>
                  <a:lnTo>
                    <a:pt x="114239" y="13295"/>
                  </a:lnTo>
                  <a:lnTo>
                    <a:pt x="113011" y="13193"/>
                  </a:lnTo>
                  <a:close/>
                  <a:moveTo>
                    <a:pt x="65557" y="13705"/>
                  </a:moveTo>
                  <a:lnTo>
                    <a:pt x="63102" y="15750"/>
                  </a:lnTo>
                  <a:lnTo>
                    <a:pt x="63818" y="15750"/>
                  </a:lnTo>
                  <a:lnTo>
                    <a:pt x="64023" y="16159"/>
                  </a:lnTo>
                  <a:lnTo>
                    <a:pt x="66309" y="15364"/>
                  </a:lnTo>
                  <a:lnTo>
                    <a:pt x="66309" y="15364"/>
                  </a:lnTo>
                  <a:lnTo>
                    <a:pt x="67091" y="15852"/>
                  </a:lnTo>
                  <a:lnTo>
                    <a:pt x="68114" y="15545"/>
                  </a:lnTo>
                  <a:lnTo>
                    <a:pt x="67091" y="15443"/>
                  </a:lnTo>
                  <a:lnTo>
                    <a:pt x="67295" y="14830"/>
                  </a:lnTo>
                  <a:lnTo>
                    <a:pt x="65659" y="14011"/>
                  </a:lnTo>
                  <a:lnTo>
                    <a:pt x="65557" y="13705"/>
                  </a:lnTo>
                  <a:close/>
                  <a:moveTo>
                    <a:pt x="128864" y="16773"/>
                  </a:moveTo>
                  <a:lnTo>
                    <a:pt x="128455" y="16875"/>
                  </a:lnTo>
                  <a:lnTo>
                    <a:pt x="128455" y="16875"/>
                  </a:lnTo>
                  <a:lnTo>
                    <a:pt x="128785" y="16804"/>
                  </a:lnTo>
                  <a:lnTo>
                    <a:pt x="128785" y="16804"/>
                  </a:lnTo>
                  <a:lnTo>
                    <a:pt x="128864" y="16773"/>
                  </a:lnTo>
                  <a:close/>
                  <a:moveTo>
                    <a:pt x="73227" y="6955"/>
                  </a:moveTo>
                  <a:lnTo>
                    <a:pt x="70773" y="7364"/>
                  </a:lnTo>
                  <a:lnTo>
                    <a:pt x="71080" y="7670"/>
                  </a:lnTo>
                  <a:lnTo>
                    <a:pt x="70159" y="7773"/>
                  </a:lnTo>
                  <a:lnTo>
                    <a:pt x="70466" y="8080"/>
                  </a:lnTo>
                  <a:lnTo>
                    <a:pt x="70466" y="8386"/>
                  </a:lnTo>
                  <a:lnTo>
                    <a:pt x="69443" y="8386"/>
                  </a:lnTo>
                  <a:lnTo>
                    <a:pt x="69955" y="8693"/>
                  </a:lnTo>
                  <a:lnTo>
                    <a:pt x="69545" y="9205"/>
                  </a:lnTo>
                  <a:lnTo>
                    <a:pt x="68318" y="9205"/>
                  </a:lnTo>
                  <a:lnTo>
                    <a:pt x="69545" y="8898"/>
                  </a:lnTo>
                  <a:lnTo>
                    <a:pt x="69136" y="8489"/>
                  </a:lnTo>
                  <a:lnTo>
                    <a:pt x="69443" y="7773"/>
                  </a:lnTo>
                  <a:lnTo>
                    <a:pt x="71284" y="6955"/>
                  </a:lnTo>
                  <a:lnTo>
                    <a:pt x="71284" y="6955"/>
                  </a:lnTo>
                  <a:lnTo>
                    <a:pt x="67193" y="8284"/>
                  </a:lnTo>
                  <a:lnTo>
                    <a:pt x="66682" y="8898"/>
                  </a:lnTo>
                  <a:lnTo>
                    <a:pt x="67909" y="9205"/>
                  </a:lnTo>
                  <a:lnTo>
                    <a:pt x="66477" y="9205"/>
                  </a:lnTo>
                  <a:lnTo>
                    <a:pt x="68114" y="9716"/>
                  </a:lnTo>
                  <a:lnTo>
                    <a:pt x="67909" y="9920"/>
                  </a:lnTo>
                  <a:lnTo>
                    <a:pt x="70875" y="10125"/>
                  </a:lnTo>
                  <a:lnTo>
                    <a:pt x="70875" y="10023"/>
                  </a:lnTo>
                  <a:lnTo>
                    <a:pt x="72205" y="10227"/>
                  </a:lnTo>
                  <a:lnTo>
                    <a:pt x="72614" y="9716"/>
                  </a:lnTo>
                  <a:lnTo>
                    <a:pt x="73534" y="9920"/>
                  </a:lnTo>
                  <a:lnTo>
                    <a:pt x="73432" y="10227"/>
                  </a:lnTo>
                  <a:lnTo>
                    <a:pt x="73841" y="10330"/>
                  </a:lnTo>
                  <a:lnTo>
                    <a:pt x="73636" y="10432"/>
                  </a:lnTo>
                  <a:lnTo>
                    <a:pt x="74148" y="10330"/>
                  </a:lnTo>
                  <a:lnTo>
                    <a:pt x="74250" y="10739"/>
                  </a:lnTo>
                  <a:lnTo>
                    <a:pt x="73432" y="11148"/>
                  </a:lnTo>
                  <a:lnTo>
                    <a:pt x="74685" y="10969"/>
                  </a:lnTo>
                  <a:lnTo>
                    <a:pt x="74761" y="11045"/>
                  </a:lnTo>
                  <a:lnTo>
                    <a:pt x="74557" y="11148"/>
                  </a:lnTo>
                  <a:lnTo>
                    <a:pt x="75375" y="11557"/>
                  </a:lnTo>
                  <a:lnTo>
                    <a:pt x="75477" y="12273"/>
                  </a:lnTo>
                  <a:lnTo>
                    <a:pt x="73534" y="13398"/>
                  </a:lnTo>
                  <a:lnTo>
                    <a:pt x="73636" y="13807"/>
                  </a:lnTo>
                  <a:lnTo>
                    <a:pt x="72000" y="14216"/>
                  </a:lnTo>
                  <a:lnTo>
                    <a:pt x="72000" y="14318"/>
                  </a:lnTo>
                  <a:lnTo>
                    <a:pt x="72000" y="14420"/>
                  </a:lnTo>
                  <a:lnTo>
                    <a:pt x="71898" y="14625"/>
                  </a:lnTo>
                  <a:lnTo>
                    <a:pt x="72000" y="14318"/>
                  </a:lnTo>
                  <a:lnTo>
                    <a:pt x="71080" y="14114"/>
                  </a:lnTo>
                  <a:lnTo>
                    <a:pt x="70057" y="14727"/>
                  </a:lnTo>
                  <a:lnTo>
                    <a:pt x="70977" y="15136"/>
                  </a:lnTo>
                  <a:lnTo>
                    <a:pt x="72307" y="14727"/>
                  </a:lnTo>
                  <a:lnTo>
                    <a:pt x="72818" y="14830"/>
                  </a:lnTo>
                  <a:lnTo>
                    <a:pt x="72716" y="15034"/>
                  </a:lnTo>
                  <a:lnTo>
                    <a:pt x="72716" y="15034"/>
                  </a:lnTo>
                  <a:lnTo>
                    <a:pt x="73330" y="14830"/>
                  </a:lnTo>
                  <a:lnTo>
                    <a:pt x="73125" y="15034"/>
                  </a:lnTo>
                  <a:lnTo>
                    <a:pt x="73739" y="15545"/>
                  </a:lnTo>
                  <a:lnTo>
                    <a:pt x="73636" y="15648"/>
                  </a:lnTo>
                  <a:lnTo>
                    <a:pt x="74148" y="15750"/>
                  </a:lnTo>
                  <a:lnTo>
                    <a:pt x="73636" y="15955"/>
                  </a:lnTo>
                  <a:lnTo>
                    <a:pt x="74250" y="16261"/>
                  </a:lnTo>
                  <a:lnTo>
                    <a:pt x="74045" y="16364"/>
                  </a:lnTo>
                  <a:lnTo>
                    <a:pt x="76909" y="17386"/>
                  </a:lnTo>
                  <a:lnTo>
                    <a:pt x="77318" y="17080"/>
                  </a:lnTo>
                  <a:lnTo>
                    <a:pt x="76398" y="16364"/>
                  </a:lnTo>
                  <a:lnTo>
                    <a:pt x="76500" y="16261"/>
                  </a:lnTo>
                  <a:lnTo>
                    <a:pt x="75989" y="15648"/>
                  </a:lnTo>
                  <a:lnTo>
                    <a:pt x="76705" y="15648"/>
                  </a:lnTo>
                  <a:lnTo>
                    <a:pt x="78034" y="16568"/>
                  </a:lnTo>
                  <a:lnTo>
                    <a:pt x="78239" y="16364"/>
                  </a:lnTo>
                  <a:lnTo>
                    <a:pt x="78545" y="16364"/>
                  </a:lnTo>
                  <a:lnTo>
                    <a:pt x="78545" y="15648"/>
                  </a:lnTo>
                  <a:lnTo>
                    <a:pt x="78955" y="15955"/>
                  </a:lnTo>
                  <a:lnTo>
                    <a:pt x="78955" y="15443"/>
                  </a:lnTo>
                  <a:lnTo>
                    <a:pt x="79057" y="15341"/>
                  </a:lnTo>
                  <a:lnTo>
                    <a:pt x="78750" y="15341"/>
                  </a:lnTo>
                  <a:lnTo>
                    <a:pt x="78545" y="15136"/>
                  </a:lnTo>
                  <a:lnTo>
                    <a:pt x="78955" y="14932"/>
                  </a:lnTo>
                  <a:lnTo>
                    <a:pt x="78648" y="14932"/>
                  </a:lnTo>
                  <a:lnTo>
                    <a:pt x="78955" y="14830"/>
                  </a:lnTo>
                  <a:lnTo>
                    <a:pt x="78648" y="14625"/>
                  </a:lnTo>
                  <a:lnTo>
                    <a:pt x="78034" y="14625"/>
                  </a:lnTo>
                  <a:lnTo>
                    <a:pt x="77830" y="14216"/>
                  </a:lnTo>
                  <a:lnTo>
                    <a:pt x="78034" y="14114"/>
                  </a:lnTo>
                  <a:lnTo>
                    <a:pt x="77523" y="14011"/>
                  </a:lnTo>
                  <a:lnTo>
                    <a:pt x="77727" y="13807"/>
                  </a:lnTo>
                  <a:lnTo>
                    <a:pt x="77318" y="13398"/>
                  </a:lnTo>
                  <a:lnTo>
                    <a:pt x="78341" y="13602"/>
                  </a:lnTo>
                  <a:lnTo>
                    <a:pt x="78136" y="13193"/>
                  </a:lnTo>
                  <a:lnTo>
                    <a:pt x="78545" y="13091"/>
                  </a:lnTo>
                  <a:lnTo>
                    <a:pt x="79466" y="13398"/>
                  </a:lnTo>
                  <a:lnTo>
                    <a:pt x="79159" y="13602"/>
                  </a:lnTo>
                  <a:lnTo>
                    <a:pt x="79159" y="13602"/>
                  </a:lnTo>
                  <a:lnTo>
                    <a:pt x="80284" y="13295"/>
                  </a:lnTo>
                  <a:lnTo>
                    <a:pt x="79466" y="13909"/>
                  </a:lnTo>
                  <a:lnTo>
                    <a:pt x="79568" y="14318"/>
                  </a:lnTo>
                  <a:lnTo>
                    <a:pt x="79977" y="14114"/>
                  </a:lnTo>
                  <a:lnTo>
                    <a:pt x="80182" y="14420"/>
                  </a:lnTo>
                  <a:lnTo>
                    <a:pt x="80489" y="14420"/>
                  </a:lnTo>
                  <a:lnTo>
                    <a:pt x="80693" y="13909"/>
                  </a:lnTo>
                  <a:lnTo>
                    <a:pt x="80489" y="13909"/>
                  </a:lnTo>
                  <a:lnTo>
                    <a:pt x="81818" y="13602"/>
                  </a:lnTo>
                  <a:lnTo>
                    <a:pt x="81511" y="13398"/>
                  </a:lnTo>
                  <a:lnTo>
                    <a:pt x="81716" y="13295"/>
                  </a:lnTo>
                  <a:lnTo>
                    <a:pt x="81614" y="13193"/>
                  </a:lnTo>
                  <a:lnTo>
                    <a:pt x="82023" y="13295"/>
                  </a:lnTo>
                  <a:lnTo>
                    <a:pt x="82023" y="12989"/>
                  </a:lnTo>
                  <a:lnTo>
                    <a:pt x="82227" y="12989"/>
                  </a:lnTo>
                  <a:lnTo>
                    <a:pt x="82227" y="12682"/>
                  </a:lnTo>
                  <a:lnTo>
                    <a:pt x="81000" y="12886"/>
                  </a:lnTo>
                  <a:lnTo>
                    <a:pt x="81716" y="12477"/>
                  </a:lnTo>
                  <a:lnTo>
                    <a:pt x="80591" y="12375"/>
                  </a:lnTo>
                  <a:lnTo>
                    <a:pt x="81307" y="12170"/>
                  </a:lnTo>
                  <a:lnTo>
                    <a:pt x="80591" y="11966"/>
                  </a:lnTo>
                  <a:lnTo>
                    <a:pt x="80795" y="11864"/>
                  </a:lnTo>
                  <a:lnTo>
                    <a:pt x="80284" y="12068"/>
                  </a:lnTo>
                  <a:lnTo>
                    <a:pt x="80386" y="11864"/>
                  </a:lnTo>
                  <a:lnTo>
                    <a:pt x="80080" y="11864"/>
                  </a:lnTo>
                  <a:lnTo>
                    <a:pt x="80182" y="11761"/>
                  </a:lnTo>
                  <a:lnTo>
                    <a:pt x="79670" y="11966"/>
                  </a:lnTo>
                  <a:lnTo>
                    <a:pt x="80080" y="11557"/>
                  </a:lnTo>
                  <a:lnTo>
                    <a:pt x="79670" y="11761"/>
                  </a:lnTo>
                  <a:lnTo>
                    <a:pt x="79466" y="11761"/>
                  </a:lnTo>
                  <a:lnTo>
                    <a:pt x="79568" y="11557"/>
                  </a:lnTo>
                  <a:lnTo>
                    <a:pt x="79773" y="11455"/>
                  </a:lnTo>
                  <a:lnTo>
                    <a:pt x="79057" y="11352"/>
                  </a:lnTo>
                  <a:lnTo>
                    <a:pt x="78955" y="11148"/>
                  </a:lnTo>
                  <a:lnTo>
                    <a:pt x="78239" y="11045"/>
                  </a:lnTo>
                  <a:lnTo>
                    <a:pt x="79466" y="10943"/>
                  </a:lnTo>
                  <a:lnTo>
                    <a:pt x="78648" y="10841"/>
                  </a:lnTo>
                  <a:lnTo>
                    <a:pt x="80284" y="10739"/>
                  </a:lnTo>
                  <a:lnTo>
                    <a:pt x="78648" y="10534"/>
                  </a:lnTo>
                  <a:lnTo>
                    <a:pt x="80080" y="10330"/>
                  </a:lnTo>
                  <a:lnTo>
                    <a:pt x="79670" y="10023"/>
                  </a:lnTo>
                  <a:lnTo>
                    <a:pt x="79057" y="10125"/>
                  </a:lnTo>
                  <a:lnTo>
                    <a:pt x="79364" y="9920"/>
                  </a:lnTo>
                  <a:lnTo>
                    <a:pt x="78443" y="10023"/>
                  </a:lnTo>
                  <a:lnTo>
                    <a:pt x="79568" y="9716"/>
                  </a:lnTo>
                  <a:lnTo>
                    <a:pt x="79466" y="9409"/>
                  </a:lnTo>
                  <a:lnTo>
                    <a:pt x="78750" y="9409"/>
                  </a:lnTo>
                  <a:lnTo>
                    <a:pt x="77625" y="10023"/>
                  </a:lnTo>
                  <a:lnTo>
                    <a:pt x="77420" y="9716"/>
                  </a:lnTo>
                  <a:lnTo>
                    <a:pt x="78545" y="9205"/>
                  </a:lnTo>
                  <a:lnTo>
                    <a:pt x="77216" y="9409"/>
                  </a:lnTo>
                  <a:lnTo>
                    <a:pt x="77216" y="9409"/>
                  </a:lnTo>
                  <a:lnTo>
                    <a:pt x="78341" y="8898"/>
                  </a:lnTo>
                  <a:lnTo>
                    <a:pt x="76500" y="8898"/>
                  </a:lnTo>
                  <a:lnTo>
                    <a:pt x="77011" y="8591"/>
                  </a:lnTo>
                  <a:lnTo>
                    <a:pt x="75886" y="9000"/>
                  </a:lnTo>
                  <a:lnTo>
                    <a:pt x="76398" y="8693"/>
                  </a:lnTo>
                  <a:lnTo>
                    <a:pt x="76091" y="8693"/>
                  </a:lnTo>
                  <a:lnTo>
                    <a:pt x="76807" y="8386"/>
                  </a:lnTo>
                  <a:lnTo>
                    <a:pt x="76807" y="8386"/>
                  </a:lnTo>
                  <a:lnTo>
                    <a:pt x="75580" y="8591"/>
                  </a:lnTo>
                  <a:lnTo>
                    <a:pt x="75580" y="8591"/>
                  </a:lnTo>
                  <a:lnTo>
                    <a:pt x="76500" y="8182"/>
                  </a:lnTo>
                  <a:lnTo>
                    <a:pt x="74761" y="7875"/>
                  </a:lnTo>
                  <a:lnTo>
                    <a:pt x="74761" y="7875"/>
                  </a:lnTo>
                  <a:lnTo>
                    <a:pt x="74864" y="8182"/>
                  </a:lnTo>
                  <a:lnTo>
                    <a:pt x="74045" y="8489"/>
                  </a:lnTo>
                  <a:lnTo>
                    <a:pt x="73739" y="8080"/>
                  </a:lnTo>
                  <a:lnTo>
                    <a:pt x="72511" y="8489"/>
                  </a:lnTo>
                  <a:lnTo>
                    <a:pt x="72818" y="8284"/>
                  </a:lnTo>
                  <a:lnTo>
                    <a:pt x="72716" y="8182"/>
                  </a:lnTo>
                  <a:lnTo>
                    <a:pt x="73125" y="7977"/>
                  </a:lnTo>
                  <a:lnTo>
                    <a:pt x="72614" y="8182"/>
                  </a:lnTo>
                  <a:lnTo>
                    <a:pt x="73534" y="7773"/>
                  </a:lnTo>
                  <a:lnTo>
                    <a:pt x="73227" y="6955"/>
                  </a:lnTo>
                  <a:close/>
                  <a:moveTo>
                    <a:pt x="103500" y="0"/>
                  </a:moveTo>
                  <a:lnTo>
                    <a:pt x="103807" y="102"/>
                  </a:lnTo>
                  <a:lnTo>
                    <a:pt x="99205" y="205"/>
                  </a:lnTo>
                  <a:lnTo>
                    <a:pt x="101864" y="307"/>
                  </a:lnTo>
                  <a:lnTo>
                    <a:pt x="99614" y="409"/>
                  </a:lnTo>
                  <a:lnTo>
                    <a:pt x="100125" y="511"/>
                  </a:lnTo>
                  <a:lnTo>
                    <a:pt x="99818" y="818"/>
                  </a:lnTo>
                  <a:lnTo>
                    <a:pt x="97057" y="511"/>
                  </a:lnTo>
                  <a:lnTo>
                    <a:pt x="97057" y="818"/>
                  </a:lnTo>
                  <a:lnTo>
                    <a:pt x="94705" y="1023"/>
                  </a:lnTo>
                  <a:lnTo>
                    <a:pt x="94705" y="614"/>
                  </a:lnTo>
                  <a:lnTo>
                    <a:pt x="91841" y="818"/>
                  </a:lnTo>
                  <a:lnTo>
                    <a:pt x="92966" y="1227"/>
                  </a:lnTo>
                  <a:lnTo>
                    <a:pt x="90716" y="920"/>
                  </a:lnTo>
                  <a:lnTo>
                    <a:pt x="86625" y="1841"/>
                  </a:lnTo>
                  <a:lnTo>
                    <a:pt x="86932" y="2148"/>
                  </a:lnTo>
                  <a:lnTo>
                    <a:pt x="87955" y="2045"/>
                  </a:lnTo>
                  <a:lnTo>
                    <a:pt x="87955" y="2045"/>
                  </a:lnTo>
                  <a:lnTo>
                    <a:pt x="81818" y="3477"/>
                  </a:lnTo>
                  <a:lnTo>
                    <a:pt x="83148" y="3682"/>
                  </a:lnTo>
                  <a:lnTo>
                    <a:pt x="82841" y="3784"/>
                  </a:lnTo>
                  <a:lnTo>
                    <a:pt x="85091" y="3989"/>
                  </a:lnTo>
                  <a:lnTo>
                    <a:pt x="82023" y="4295"/>
                  </a:lnTo>
                  <a:lnTo>
                    <a:pt x="82125" y="4398"/>
                  </a:lnTo>
                  <a:lnTo>
                    <a:pt x="82125" y="4500"/>
                  </a:lnTo>
                  <a:lnTo>
                    <a:pt x="83557" y="4602"/>
                  </a:lnTo>
                  <a:lnTo>
                    <a:pt x="82534" y="4807"/>
                  </a:lnTo>
                  <a:lnTo>
                    <a:pt x="88568" y="5318"/>
                  </a:lnTo>
                  <a:lnTo>
                    <a:pt x="88568" y="5625"/>
                  </a:lnTo>
                  <a:lnTo>
                    <a:pt x="89489" y="6341"/>
                  </a:lnTo>
                  <a:lnTo>
                    <a:pt x="88670" y="6648"/>
                  </a:lnTo>
                  <a:lnTo>
                    <a:pt x="89386" y="6750"/>
                  </a:lnTo>
                  <a:lnTo>
                    <a:pt x="89182" y="7057"/>
                  </a:lnTo>
                  <a:lnTo>
                    <a:pt x="89386" y="7466"/>
                  </a:lnTo>
                  <a:lnTo>
                    <a:pt x="89386" y="7568"/>
                  </a:lnTo>
                  <a:lnTo>
                    <a:pt x="89591" y="7773"/>
                  </a:lnTo>
                  <a:lnTo>
                    <a:pt x="88977" y="7977"/>
                  </a:lnTo>
                  <a:lnTo>
                    <a:pt x="89080" y="8080"/>
                  </a:lnTo>
                  <a:lnTo>
                    <a:pt x="88773" y="8182"/>
                  </a:lnTo>
                  <a:lnTo>
                    <a:pt x="88773" y="8182"/>
                  </a:lnTo>
                  <a:lnTo>
                    <a:pt x="89386" y="8080"/>
                  </a:lnTo>
                  <a:lnTo>
                    <a:pt x="88568" y="8795"/>
                  </a:lnTo>
                  <a:lnTo>
                    <a:pt x="90102" y="8489"/>
                  </a:lnTo>
                  <a:lnTo>
                    <a:pt x="90102" y="8591"/>
                  </a:lnTo>
                  <a:lnTo>
                    <a:pt x="90205" y="8591"/>
                  </a:lnTo>
                  <a:lnTo>
                    <a:pt x="90205" y="8693"/>
                  </a:lnTo>
                  <a:lnTo>
                    <a:pt x="91023" y="8693"/>
                  </a:lnTo>
                  <a:lnTo>
                    <a:pt x="90000" y="9102"/>
                  </a:lnTo>
                  <a:lnTo>
                    <a:pt x="91227" y="9205"/>
                  </a:lnTo>
                  <a:lnTo>
                    <a:pt x="90716" y="9205"/>
                  </a:lnTo>
                  <a:lnTo>
                    <a:pt x="91023" y="9409"/>
                  </a:lnTo>
                  <a:lnTo>
                    <a:pt x="91227" y="9716"/>
                  </a:lnTo>
                  <a:lnTo>
                    <a:pt x="88875" y="9614"/>
                  </a:lnTo>
                  <a:lnTo>
                    <a:pt x="91330" y="10125"/>
                  </a:lnTo>
                  <a:lnTo>
                    <a:pt x="90511" y="10739"/>
                  </a:lnTo>
                  <a:lnTo>
                    <a:pt x="91023" y="10739"/>
                  </a:lnTo>
                  <a:lnTo>
                    <a:pt x="90511" y="10841"/>
                  </a:lnTo>
                  <a:lnTo>
                    <a:pt x="90205" y="11148"/>
                  </a:lnTo>
                  <a:lnTo>
                    <a:pt x="90511" y="11148"/>
                  </a:lnTo>
                  <a:lnTo>
                    <a:pt x="88568" y="11557"/>
                  </a:lnTo>
                  <a:lnTo>
                    <a:pt x="90102" y="11455"/>
                  </a:lnTo>
                  <a:lnTo>
                    <a:pt x="88057" y="12170"/>
                  </a:lnTo>
                  <a:lnTo>
                    <a:pt x="90102" y="11966"/>
                  </a:lnTo>
                  <a:lnTo>
                    <a:pt x="89898" y="12068"/>
                  </a:lnTo>
                  <a:lnTo>
                    <a:pt x="90205" y="12273"/>
                  </a:lnTo>
                  <a:lnTo>
                    <a:pt x="88261" y="12273"/>
                  </a:lnTo>
                  <a:lnTo>
                    <a:pt x="87955" y="12784"/>
                  </a:lnTo>
                  <a:lnTo>
                    <a:pt x="88773" y="12784"/>
                  </a:lnTo>
                  <a:lnTo>
                    <a:pt x="87648" y="13500"/>
                  </a:lnTo>
                  <a:lnTo>
                    <a:pt x="89489" y="12784"/>
                  </a:lnTo>
                  <a:lnTo>
                    <a:pt x="89489" y="12784"/>
                  </a:lnTo>
                  <a:lnTo>
                    <a:pt x="87750" y="13602"/>
                  </a:lnTo>
                  <a:lnTo>
                    <a:pt x="87852" y="13602"/>
                  </a:lnTo>
                  <a:lnTo>
                    <a:pt x="87750" y="14011"/>
                  </a:lnTo>
                  <a:lnTo>
                    <a:pt x="89182" y="13807"/>
                  </a:lnTo>
                  <a:lnTo>
                    <a:pt x="88261" y="14114"/>
                  </a:lnTo>
                  <a:lnTo>
                    <a:pt x="88057" y="15239"/>
                  </a:lnTo>
                  <a:lnTo>
                    <a:pt x="88773" y="14727"/>
                  </a:lnTo>
                  <a:lnTo>
                    <a:pt x="89080" y="14318"/>
                  </a:lnTo>
                  <a:lnTo>
                    <a:pt x="89489" y="15034"/>
                  </a:lnTo>
                  <a:lnTo>
                    <a:pt x="88466" y="15034"/>
                  </a:lnTo>
                  <a:lnTo>
                    <a:pt x="88364" y="15341"/>
                  </a:lnTo>
                  <a:lnTo>
                    <a:pt x="89080" y="15136"/>
                  </a:lnTo>
                  <a:lnTo>
                    <a:pt x="88977" y="15239"/>
                  </a:lnTo>
                  <a:lnTo>
                    <a:pt x="89182" y="15239"/>
                  </a:lnTo>
                  <a:lnTo>
                    <a:pt x="88261" y="15443"/>
                  </a:lnTo>
                  <a:lnTo>
                    <a:pt x="88568" y="16466"/>
                  </a:lnTo>
                  <a:lnTo>
                    <a:pt x="89080" y="16261"/>
                  </a:lnTo>
                  <a:lnTo>
                    <a:pt x="88568" y="16773"/>
                  </a:lnTo>
                  <a:lnTo>
                    <a:pt x="89386" y="17182"/>
                  </a:lnTo>
                  <a:lnTo>
                    <a:pt x="88977" y="17591"/>
                  </a:lnTo>
                  <a:lnTo>
                    <a:pt x="89386" y="18205"/>
                  </a:lnTo>
                  <a:lnTo>
                    <a:pt x="89795" y="18205"/>
                  </a:lnTo>
                  <a:lnTo>
                    <a:pt x="89386" y="18409"/>
                  </a:lnTo>
                  <a:lnTo>
                    <a:pt x="89795" y="18409"/>
                  </a:lnTo>
                  <a:lnTo>
                    <a:pt x="89795" y="18307"/>
                  </a:lnTo>
                  <a:lnTo>
                    <a:pt x="91227" y="18000"/>
                  </a:lnTo>
                  <a:lnTo>
                    <a:pt x="91023" y="18614"/>
                  </a:lnTo>
                  <a:lnTo>
                    <a:pt x="91943" y="18511"/>
                  </a:lnTo>
                  <a:lnTo>
                    <a:pt x="91943" y="18511"/>
                  </a:lnTo>
                  <a:lnTo>
                    <a:pt x="91330" y="18920"/>
                  </a:lnTo>
                  <a:lnTo>
                    <a:pt x="91330" y="18920"/>
                  </a:lnTo>
                  <a:lnTo>
                    <a:pt x="92148" y="18818"/>
                  </a:lnTo>
                  <a:lnTo>
                    <a:pt x="92148" y="19227"/>
                  </a:lnTo>
                  <a:lnTo>
                    <a:pt x="92455" y="19227"/>
                  </a:lnTo>
                  <a:lnTo>
                    <a:pt x="92250" y="19125"/>
                  </a:lnTo>
                  <a:lnTo>
                    <a:pt x="92966" y="18920"/>
                  </a:lnTo>
                  <a:lnTo>
                    <a:pt x="92455" y="18614"/>
                  </a:lnTo>
                  <a:lnTo>
                    <a:pt x="93375" y="18409"/>
                  </a:lnTo>
                  <a:lnTo>
                    <a:pt x="93989" y="17591"/>
                  </a:lnTo>
                  <a:lnTo>
                    <a:pt x="93784" y="17489"/>
                  </a:lnTo>
                  <a:lnTo>
                    <a:pt x="94091" y="17386"/>
                  </a:lnTo>
                  <a:lnTo>
                    <a:pt x="94295" y="16670"/>
                  </a:lnTo>
                  <a:lnTo>
                    <a:pt x="93784" y="16568"/>
                  </a:lnTo>
                  <a:lnTo>
                    <a:pt x="94807" y="16364"/>
                  </a:lnTo>
                  <a:lnTo>
                    <a:pt x="94500" y="16159"/>
                  </a:lnTo>
                  <a:lnTo>
                    <a:pt x="95830" y="15648"/>
                  </a:lnTo>
                  <a:lnTo>
                    <a:pt x="95830" y="15239"/>
                  </a:lnTo>
                  <a:lnTo>
                    <a:pt x="95216" y="15136"/>
                  </a:lnTo>
                  <a:lnTo>
                    <a:pt x="96136" y="15034"/>
                  </a:lnTo>
                  <a:lnTo>
                    <a:pt x="95830" y="14625"/>
                  </a:lnTo>
                  <a:lnTo>
                    <a:pt x="96955" y="14216"/>
                  </a:lnTo>
                  <a:lnTo>
                    <a:pt x="96545" y="14011"/>
                  </a:lnTo>
                  <a:lnTo>
                    <a:pt x="98489" y="13398"/>
                  </a:lnTo>
                  <a:lnTo>
                    <a:pt x="98182" y="13295"/>
                  </a:lnTo>
                  <a:lnTo>
                    <a:pt x="98795" y="13295"/>
                  </a:lnTo>
                  <a:lnTo>
                    <a:pt x="98386" y="13909"/>
                  </a:lnTo>
                  <a:lnTo>
                    <a:pt x="99205" y="13602"/>
                  </a:lnTo>
                  <a:lnTo>
                    <a:pt x="99307" y="13705"/>
                  </a:lnTo>
                  <a:lnTo>
                    <a:pt x="102580" y="11659"/>
                  </a:lnTo>
                  <a:lnTo>
                    <a:pt x="102682" y="11455"/>
                  </a:lnTo>
                  <a:lnTo>
                    <a:pt x="109125" y="10227"/>
                  </a:lnTo>
                  <a:lnTo>
                    <a:pt x="109023" y="10227"/>
                  </a:lnTo>
                  <a:lnTo>
                    <a:pt x="109636" y="10023"/>
                  </a:lnTo>
                  <a:lnTo>
                    <a:pt x="106159" y="10023"/>
                  </a:lnTo>
                  <a:lnTo>
                    <a:pt x="106977" y="9716"/>
                  </a:lnTo>
                  <a:lnTo>
                    <a:pt x="105239" y="9716"/>
                  </a:lnTo>
                  <a:lnTo>
                    <a:pt x="105852" y="9205"/>
                  </a:lnTo>
                  <a:lnTo>
                    <a:pt x="107386" y="9205"/>
                  </a:lnTo>
                  <a:lnTo>
                    <a:pt x="106773" y="8693"/>
                  </a:lnTo>
                  <a:lnTo>
                    <a:pt x="108409" y="9102"/>
                  </a:lnTo>
                  <a:lnTo>
                    <a:pt x="109023" y="9716"/>
                  </a:lnTo>
                  <a:lnTo>
                    <a:pt x="109636" y="9307"/>
                  </a:lnTo>
                  <a:lnTo>
                    <a:pt x="109636" y="9716"/>
                  </a:lnTo>
                  <a:lnTo>
                    <a:pt x="110148" y="9307"/>
                  </a:lnTo>
                  <a:lnTo>
                    <a:pt x="110148" y="8795"/>
                  </a:lnTo>
                  <a:lnTo>
                    <a:pt x="109739" y="9000"/>
                  </a:lnTo>
                  <a:lnTo>
                    <a:pt x="110148" y="8591"/>
                  </a:lnTo>
                  <a:lnTo>
                    <a:pt x="108205" y="8080"/>
                  </a:lnTo>
                  <a:lnTo>
                    <a:pt x="108511" y="7977"/>
                  </a:lnTo>
                  <a:lnTo>
                    <a:pt x="108307" y="7670"/>
                  </a:lnTo>
                  <a:lnTo>
                    <a:pt x="107284" y="7773"/>
                  </a:lnTo>
                  <a:lnTo>
                    <a:pt x="107284" y="7773"/>
                  </a:lnTo>
                  <a:lnTo>
                    <a:pt x="108211" y="7587"/>
                  </a:lnTo>
                  <a:lnTo>
                    <a:pt x="108211" y="7587"/>
                  </a:lnTo>
                  <a:lnTo>
                    <a:pt x="106875" y="7466"/>
                  </a:lnTo>
                  <a:lnTo>
                    <a:pt x="107489" y="7364"/>
                  </a:lnTo>
                  <a:lnTo>
                    <a:pt x="107080" y="7159"/>
                  </a:lnTo>
                  <a:lnTo>
                    <a:pt x="108716" y="7159"/>
                  </a:lnTo>
                  <a:lnTo>
                    <a:pt x="108307" y="6852"/>
                  </a:lnTo>
                  <a:lnTo>
                    <a:pt x="111375" y="7159"/>
                  </a:lnTo>
                  <a:lnTo>
                    <a:pt x="111068" y="6750"/>
                  </a:lnTo>
                  <a:lnTo>
                    <a:pt x="110352" y="6750"/>
                  </a:lnTo>
                  <a:lnTo>
                    <a:pt x="110352" y="6545"/>
                  </a:lnTo>
                  <a:lnTo>
                    <a:pt x="110659" y="6239"/>
                  </a:lnTo>
                  <a:lnTo>
                    <a:pt x="110557" y="6545"/>
                  </a:lnTo>
                  <a:lnTo>
                    <a:pt x="112295" y="6443"/>
                  </a:lnTo>
                  <a:lnTo>
                    <a:pt x="111989" y="6034"/>
                  </a:lnTo>
                  <a:lnTo>
                    <a:pt x="111273" y="6239"/>
                  </a:lnTo>
                  <a:lnTo>
                    <a:pt x="111273" y="5830"/>
                  </a:lnTo>
                  <a:lnTo>
                    <a:pt x="110557" y="5830"/>
                  </a:lnTo>
                  <a:lnTo>
                    <a:pt x="111784" y="5727"/>
                  </a:lnTo>
                  <a:lnTo>
                    <a:pt x="112091" y="5830"/>
                  </a:lnTo>
                  <a:lnTo>
                    <a:pt x="112193" y="5011"/>
                  </a:lnTo>
                  <a:lnTo>
                    <a:pt x="111375" y="4909"/>
                  </a:lnTo>
                  <a:lnTo>
                    <a:pt x="111068" y="4705"/>
                  </a:lnTo>
                  <a:lnTo>
                    <a:pt x="110659" y="4602"/>
                  </a:lnTo>
                  <a:lnTo>
                    <a:pt x="113011" y="4500"/>
                  </a:lnTo>
                  <a:lnTo>
                    <a:pt x="113216" y="4091"/>
                  </a:lnTo>
                  <a:lnTo>
                    <a:pt x="111989" y="3886"/>
                  </a:lnTo>
                  <a:lnTo>
                    <a:pt x="112807" y="3886"/>
                  </a:lnTo>
                  <a:lnTo>
                    <a:pt x="111580" y="3784"/>
                  </a:lnTo>
                  <a:lnTo>
                    <a:pt x="112091" y="3170"/>
                  </a:lnTo>
                  <a:lnTo>
                    <a:pt x="111989" y="3068"/>
                  </a:lnTo>
                  <a:lnTo>
                    <a:pt x="113114" y="2557"/>
                  </a:lnTo>
                  <a:lnTo>
                    <a:pt x="112909" y="2352"/>
                  </a:lnTo>
                  <a:lnTo>
                    <a:pt x="113216" y="1943"/>
                  </a:lnTo>
                  <a:lnTo>
                    <a:pt x="115261" y="1841"/>
                  </a:lnTo>
                  <a:lnTo>
                    <a:pt x="114750" y="1739"/>
                  </a:lnTo>
                  <a:lnTo>
                    <a:pt x="116284" y="1534"/>
                  </a:lnTo>
                  <a:lnTo>
                    <a:pt x="116080" y="1432"/>
                  </a:lnTo>
                  <a:lnTo>
                    <a:pt x="117818" y="1125"/>
                  </a:lnTo>
                  <a:lnTo>
                    <a:pt x="111273" y="1636"/>
                  </a:lnTo>
                  <a:lnTo>
                    <a:pt x="111273" y="1636"/>
                  </a:lnTo>
                  <a:lnTo>
                    <a:pt x="112398" y="1125"/>
                  </a:lnTo>
                  <a:lnTo>
                    <a:pt x="107898" y="818"/>
                  </a:lnTo>
                  <a:lnTo>
                    <a:pt x="112500" y="409"/>
                  </a:lnTo>
                  <a:lnTo>
                    <a:pt x="106977" y="205"/>
                  </a:lnTo>
                  <a:lnTo>
                    <a:pt x="110352" y="0"/>
                  </a:lnTo>
                  <a:close/>
                  <a:moveTo>
                    <a:pt x="5114" y="22807"/>
                  </a:moveTo>
                  <a:lnTo>
                    <a:pt x="5069" y="22823"/>
                  </a:lnTo>
                  <a:lnTo>
                    <a:pt x="5069" y="22823"/>
                  </a:lnTo>
                  <a:lnTo>
                    <a:pt x="5011" y="22909"/>
                  </a:lnTo>
                  <a:lnTo>
                    <a:pt x="5114" y="22807"/>
                  </a:lnTo>
                  <a:close/>
                  <a:moveTo>
                    <a:pt x="133057" y="23011"/>
                  </a:moveTo>
                  <a:lnTo>
                    <a:pt x="132955" y="23216"/>
                  </a:lnTo>
                  <a:lnTo>
                    <a:pt x="132443" y="23216"/>
                  </a:lnTo>
                  <a:lnTo>
                    <a:pt x="132955" y="23727"/>
                  </a:lnTo>
                  <a:lnTo>
                    <a:pt x="133261" y="23727"/>
                  </a:lnTo>
                  <a:lnTo>
                    <a:pt x="133568" y="23216"/>
                  </a:lnTo>
                  <a:lnTo>
                    <a:pt x="133057" y="23011"/>
                  </a:lnTo>
                  <a:close/>
                  <a:moveTo>
                    <a:pt x="1125" y="23625"/>
                  </a:moveTo>
                  <a:lnTo>
                    <a:pt x="102" y="24034"/>
                  </a:lnTo>
                  <a:lnTo>
                    <a:pt x="1120" y="23634"/>
                  </a:lnTo>
                  <a:lnTo>
                    <a:pt x="1120" y="23634"/>
                  </a:lnTo>
                  <a:lnTo>
                    <a:pt x="1125" y="23625"/>
                  </a:lnTo>
                  <a:close/>
                  <a:moveTo>
                    <a:pt x="102" y="24034"/>
                  </a:moveTo>
                  <a:lnTo>
                    <a:pt x="102" y="24034"/>
                  </a:lnTo>
                  <a:lnTo>
                    <a:pt x="102" y="24034"/>
                  </a:lnTo>
                  <a:close/>
                  <a:moveTo>
                    <a:pt x="138170" y="24136"/>
                  </a:moveTo>
                  <a:lnTo>
                    <a:pt x="138375" y="24239"/>
                  </a:lnTo>
                  <a:lnTo>
                    <a:pt x="138477" y="24239"/>
                  </a:lnTo>
                  <a:lnTo>
                    <a:pt x="138170" y="24136"/>
                  </a:lnTo>
                  <a:close/>
                  <a:moveTo>
                    <a:pt x="118534" y="23523"/>
                  </a:moveTo>
                  <a:lnTo>
                    <a:pt x="118636" y="23625"/>
                  </a:lnTo>
                  <a:lnTo>
                    <a:pt x="118330" y="23932"/>
                  </a:lnTo>
                  <a:lnTo>
                    <a:pt x="118330" y="23727"/>
                  </a:lnTo>
                  <a:lnTo>
                    <a:pt x="117818" y="23830"/>
                  </a:lnTo>
                  <a:lnTo>
                    <a:pt x="117511" y="24239"/>
                  </a:lnTo>
                  <a:lnTo>
                    <a:pt x="117920" y="24239"/>
                  </a:lnTo>
                  <a:lnTo>
                    <a:pt x="117614" y="24648"/>
                  </a:lnTo>
                  <a:lnTo>
                    <a:pt x="116489" y="24750"/>
                  </a:lnTo>
                  <a:lnTo>
                    <a:pt x="116591" y="24852"/>
                  </a:lnTo>
                  <a:lnTo>
                    <a:pt x="116591" y="25057"/>
                  </a:lnTo>
                  <a:lnTo>
                    <a:pt x="116795" y="24955"/>
                  </a:lnTo>
                  <a:lnTo>
                    <a:pt x="116693" y="25261"/>
                  </a:lnTo>
                  <a:lnTo>
                    <a:pt x="116386" y="25364"/>
                  </a:lnTo>
                  <a:lnTo>
                    <a:pt x="116386" y="25466"/>
                  </a:lnTo>
                  <a:lnTo>
                    <a:pt x="116591" y="25466"/>
                  </a:lnTo>
                  <a:lnTo>
                    <a:pt x="116591" y="25568"/>
                  </a:lnTo>
                  <a:lnTo>
                    <a:pt x="117307" y="25670"/>
                  </a:lnTo>
                  <a:lnTo>
                    <a:pt x="116489" y="26284"/>
                  </a:lnTo>
                  <a:lnTo>
                    <a:pt x="116489" y="26284"/>
                  </a:lnTo>
                  <a:lnTo>
                    <a:pt x="117409" y="26182"/>
                  </a:lnTo>
                  <a:lnTo>
                    <a:pt x="116489" y="26489"/>
                  </a:lnTo>
                  <a:lnTo>
                    <a:pt x="116591" y="26591"/>
                  </a:lnTo>
                  <a:lnTo>
                    <a:pt x="116080" y="26693"/>
                  </a:lnTo>
                  <a:lnTo>
                    <a:pt x="116489" y="26693"/>
                  </a:lnTo>
                  <a:lnTo>
                    <a:pt x="116080" y="27000"/>
                  </a:lnTo>
                  <a:lnTo>
                    <a:pt x="116693" y="27000"/>
                  </a:lnTo>
                  <a:lnTo>
                    <a:pt x="116284" y="27205"/>
                  </a:lnTo>
                  <a:lnTo>
                    <a:pt x="116284" y="27205"/>
                  </a:lnTo>
                  <a:lnTo>
                    <a:pt x="116693" y="27102"/>
                  </a:lnTo>
                  <a:lnTo>
                    <a:pt x="116489" y="27307"/>
                  </a:lnTo>
                  <a:lnTo>
                    <a:pt x="119250" y="26591"/>
                  </a:lnTo>
                  <a:lnTo>
                    <a:pt x="119148" y="26489"/>
                  </a:lnTo>
                  <a:lnTo>
                    <a:pt x="119455" y="24852"/>
                  </a:lnTo>
                  <a:lnTo>
                    <a:pt x="119352" y="24750"/>
                  </a:lnTo>
                  <a:lnTo>
                    <a:pt x="119966" y="24545"/>
                  </a:lnTo>
                  <a:lnTo>
                    <a:pt x="119864" y="24341"/>
                  </a:lnTo>
                  <a:lnTo>
                    <a:pt x="119659" y="24239"/>
                  </a:lnTo>
                  <a:lnTo>
                    <a:pt x="119455" y="23727"/>
                  </a:lnTo>
                  <a:lnTo>
                    <a:pt x="118636" y="23830"/>
                  </a:lnTo>
                  <a:lnTo>
                    <a:pt x="118841" y="23625"/>
                  </a:lnTo>
                  <a:lnTo>
                    <a:pt x="118534" y="23523"/>
                  </a:lnTo>
                  <a:close/>
                  <a:moveTo>
                    <a:pt x="121398" y="20455"/>
                  </a:moveTo>
                  <a:lnTo>
                    <a:pt x="120477" y="20761"/>
                  </a:lnTo>
                  <a:lnTo>
                    <a:pt x="119966" y="21682"/>
                  </a:lnTo>
                  <a:lnTo>
                    <a:pt x="119761" y="22091"/>
                  </a:lnTo>
                  <a:lnTo>
                    <a:pt x="119864" y="22091"/>
                  </a:lnTo>
                  <a:lnTo>
                    <a:pt x="119557" y="22295"/>
                  </a:lnTo>
                  <a:lnTo>
                    <a:pt x="120273" y="22193"/>
                  </a:lnTo>
                  <a:lnTo>
                    <a:pt x="119966" y="23523"/>
                  </a:lnTo>
                  <a:lnTo>
                    <a:pt x="120170" y="23011"/>
                  </a:lnTo>
                  <a:lnTo>
                    <a:pt x="120580" y="22807"/>
                  </a:lnTo>
                  <a:lnTo>
                    <a:pt x="120682" y="23011"/>
                  </a:lnTo>
                  <a:lnTo>
                    <a:pt x="120375" y="24239"/>
                  </a:lnTo>
                  <a:lnTo>
                    <a:pt x="121807" y="23932"/>
                  </a:lnTo>
                  <a:lnTo>
                    <a:pt x="122011" y="25568"/>
                  </a:lnTo>
                  <a:lnTo>
                    <a:pt x="120580" y="26080"/>
                  </a:lnTo>
                  <a:lnTo>
                    <a:pt x="120580" y="26080"/>
                  </a:lnTo>
                  <a:lnTo>
                    <a:pt x="120989" y="25977"/>
                  </a:lnTo>
                  <a:lnTo>
                    <a:pt x="121091" y="26284"/>
                  </a:lnTo>
                  <a:lnTo>
                    <a:pt x="120068" y="27000"/>
                  </a:lnTo>
                  <a:lnTo>
                    <a:pt x="120989" y="27205"/>
                  </a:lnTo>
                  <a:lnTo>
                    <a:pt x="120886" y="27307"/>
                  </a:lnTo>
                  <a:lnTo>
                    <a:pt x="121602" y="27409"/>
                  </a:lnTo>
                  <a:lnTo>
                    <a:pt x="122216" y="27102"/>
                  </a:lnTo>
                  <a:lnTo>
                    <a:pt x="121602" y="27614"/>
                  </a:lnTo>
                  <a:lnTo>
                    <a:pt x="120989" y="27614"/>
                  </a:lnTo>
                  <a:lnTo>
                    <a:pt x="119761" y="28739"/>
                  </a:lnTo>
                  <a:lnTo>
                    <a:pt x="120068" y="28841"/>
                  </a:lnTo>
                  <a:lnTo>
                    <a:pt x="120375" y="28534"/>
                  </a:lnTo>
                  <a:lnTo>
                    <a:pt x="121091" y="28534"/>
                  </a:lnTo>
                  <a:lnTo>
                    <a:pt x="121807" y="28125"/>
                  </a:lnTo>
                  <a:lnTo>
                    <a:pt x="122625" y="28227"/>
                  </a:lnTo>
                  <a:lnTo>
                    <a:pt x="122523" y="28125"/>
                  </a:lnTo>
                  <a:lnTo>
                    <a:pt x="123136" y="28023"/>
                  </a:lnTo>
                  <a:lnTo>
                    <a:pt x="123034" y="27920"/>
                  </a:lnTo>
                  <a:lnTo>
                    <a:pt x="124773" y="27920"/>
                  </a:lnTo>
                  <a:lnTo>
                    <a:pt x="125182" y="27409"/>
                  </a:lnTo>
                  <a:lnTo>
                    <a:pt x="124466" y="27409"/>
                  </a:lnTo>
                  <a:lnTo>
                    <a:pt x="125080" y="26898"/>
                  </a:lnTo>
                  <a:lnTo>
                    <a:pt x="125284" y="25977"/>
                  </a:lnTo>
                  <a:lnTo>
                    <a:pt x="124159" y="25977"/>
                  </a:lnTo>
                  <a:lnTo>
                    <a:pt x="123648" y="25159"/>
                  </a:lnTo>
                  <a:lnTo>
                    <a:pt x="124261" y="25261"/>
                  </a:lnTo>
                  <a:lnTo>
                    <a:pt x="124261" y="25261"/>
                  </a:lnTo>
                  <a:lnTo>
                    <a:pt x="124057" y="24750"/>
                  </a:lnTo>
                  <a:lnTo>
                    <a:pt x="123239" y="24239"/>
                  </a:lnTo>
                  <a:lnTo>
                    <a:pt x="122932" y="23420"/>
                  </a:lnTo>
                  <a:lnTo>
                    <a:pt x="121295" y="22807"/>
                  </a:lnTo>
                  <a:lnTo>
                    <a:pt x="122011" y="22705"/>
                  </a:lnTo>
                  <a:lnTo>
                    <a:pt x="121705" y="22602"/>
                  </a:lnTo>
                  <a:lnTo>
                    <a:pt x="122318" y="22295"/>
                  </a:lnTo>
                  <a:lnTo>
                    <a:pt x="122830" y="21580"/>
                  </a:lnTo>
                  <a:lnTo>
                    <a:pt x="121091" y="21375"/>
                  </a:lnTo>
                  <a:lnTo>
                    <a:pt x="121295" y="21170"/>
                  </a:lnTo>
                  <a:lnTo>
                    <a:pt x="121193" y="21170"/>
                  </a:lnTo>
                  <a:lnTo>
                    <a:pt x="121807" y="20659"/>
                  </a:lnTo>
                  <a:lnTo>
                    <a:pt x="121398" y="20455"/>
                  </a:lnTo>
                  <a:close/>
                  <a:moveTo>
                    <a:pt x="23830" y="27920"/>
                  </a:moveTo>
                  <a:lnTo>
                    <a:pt x="23523" y="28330"/>
                  </a:lnTo>
                  <a:lnTo>
                    <a:pt x="24034" y="28227"/>
                  </a:lnTo>
                  <a:lnTo>
                    <a:pt x="23932" y="28432"/>
                  </a:lnTo>
                  <a:lnTo>
                    <a:pt x="23523" y="28534"/>
                  </a:lnTo>
                  <a:lnTo>
                    <a:pt x="23625" y="28534"/>
                  </a:lnTo>
                  <a:lnTo>
                    <a:pt x="23420" y="28739"/>
                  </a:lnTo>
                  <a:lnTo>
                    <a:pt x="23830" y="28739"/>
                  </a:lnTo>
                  <a:lnTo>
                    <a:pt x="23932" y="28636"/>
                  </a:lnTo>
                  <a:lnTo>
                    <a:pt x="24034" y="28943"/>
                  </a:lnTo>
                  <a:lnTo>
                    <a:pt x="24443" y="29148"/>
                  </a:lnTo>
                  <a:lnTo>
                    <a:pt x="24034" y="29455"/>
                  </a:lnTo>
                  <a:lnTo>
                    <a:pt x="24443" y="29455"/>
                  </a:lnTo>
                  <a:lnTo>
                    <a:pt x="24341" y="29557"/>
                  </a:lnTo>
                  <a:lnTo>
                    <a:pt x="24545" y="29659"/>
                  </a:lnTo>
                  <a:lnTo>
                    <a:pt x="24341" y="29761"/>
                  </a:lnTo>
                  <a:lnTo>
                    <a:pt x="25261" y="29557"/>
                  </a:lnTo>
                  <a:lnTo>
                    <a:pt x="25057" y="30273"/>
                  </a:lnTo>
                  <a:lnTo>
                    <a:pt x="25057" y="30273"/>
                  </a:lnTo>
                  <a:lnTo>
                    <a:pt x="25875" y="30170"/>
                  </a:lnTo>
                  <a:lnTo>
                    <a:pt x="25466" y="28534"/>
                  </a:lnTo>
                  <a:lnTo>
                    <a:pt x="23830" y="27920"/>
                  </a:lnTo>
                  <a:close/>
                  <a:moveTo>
                    <a:pt x="25875" y="30170"/>
                  </a:moveTo>
                  <a:lnTo>
                    <a:pt x="25875" y="30273"/>
                  </a:lnTo>
                  <a:lnTo>
                    <a:pt x="25977" y="30170"/>
                  </a:lnTo>
                  <a:close/>
                  <a:moveTo>
                    <a:pt x="72102" y="30989"/>
                  </a:moveTo>
                  <a:lnTo>
                    <a:pt x="72146" y="31003"/>
                  </a:lnTo>
                  <a:lnTo>
                    <a:pt x="72146" y="31003"/>
                  </a:lnTo>
                  <a:lnTo>
                    <a:pt x="72205" y="30989"/>
                  </a:lnTo>
                  <a:close/>
                  <a:moveTo>
                    <a:pt x="25568" y="31398"/>
                  </a:moveTo>
                  <a:lnTo>
                    <a:pt x="25364" y="31500"/>
                  </a:lnTo>
                  <a:lnTo>
                    <a:pt x="25364" y="31500"/>
                  </a:lnTo>
                  <a:lnTo>
                    <a:pt x="25466" y="31398"/>
                  </a:lnTo>
                  <a:close/>
                  <a:moveTo>
                    <a:pt x="80386" y="31500"/>
                  </a:moveTo>
                  <a:lnTo>
                    <a:pt x="80386" y="31500"/>
                  </a:lnTo>
                  <a:lnTo>
                    <a:pt x="80386" y="31500"/>
                  </a:lnTo>
                  <a:close/>
                  <a:moveTo>
                    <a:pt x="80693" y="27307"/>
                  </a:moveTo>
                  <a:lnTo>
                    <a:pt x="80182" y="27409"/>
                  </a:lnTo>
                  <a:lnTo>
                    <a:pt x="78136" y="29864"/>
                  </a:lnTo>
                  <a:lnTo>
                    <a:pt x="77625" y="29966"/>
                  </a:lnTo>
                  <a:lnTo>
                    <a:pt x="77318" y="30170"/>
                  </a:lnTo>
                  <a:lnTo>
                    <a:pt x="77420" y="30068"/>
                  </a:lnTo>
                  <a:lnTo>
                    <a:pt x="77011" y="30273"/>
                  </a:lnTo>
                  <a:lnTo>
                    <a:pt x="77727" y="30273"/>
                  </a:lnTo>
                  <a:lnTo>
                    <a:pt x="76705" y="30989"/>
                  </a:lnTo>
                  <a:lnTo>
                    <a:pt x="79466" y="30989"/>
                  </a:lnTo>
                  <a:lnTo>
                    <a:pt x="79159" y="31295"/>
                  </a:lnTo>
                  <a:lnTo>
                    <a:pt x="80284" y="31193"/>
                  </a:lnTo>
                  <a:lnTo>
                    <a:pt x="79261" y="32011"/>
                  </a:lnTo>
                  <a:lnTo>
                    <a:pt x="80489" y="31295"/>
                  </a:lnTo>
                  <a:lnTo>
                    <a:pt x="80386" y="31500"/>
                  </a:lnTo>
                  <a:lnTo>
                    <a:pt x="80795" y="30989"/>
                  </a:lnTo>
                  <a:lnTo>
                    <a:pt x="81000" y="31398"/>
                  </a:lnTo>
                  <a:lnTo>
                    <a:pt x="80591" y="32011"/>
                  </a:lnTo>
                  <a:lnTo>
                    <a:pt x="81102" y="31705"/>
                  </a:lnTo>
                  <a:lnTo>
                    <a:pt x="81000" y="32216"/>
                  </a:lnTo>
                  <a:lnTo>
                    <a:pt x="81000" y="32216"/>
                  </a:lnTo>
                  <a:lnTo>
                    <a:pt x="81409" y="32114"/>
                  </a:lnTo>
                  <a:lnTo>
                    <a:pt x="81920" y="31091"/>
                  </a:lnTo>
                  <a:lnTo>
                    <a:pt x="81511" y="31398"/>
                  </a:lnTo>
                  <a:lnTo>
                    <a:pt x="81920" y="30682"/>
                  </a:lnTo>
                  <a:lnTo>
                    <a:pt x="81205" y="31193"/>
                  </a:lnTo>
                  <a:lnTo>
                    <a:pt x="81205" y="31193"/>
                  </a:lnTo>
                  <a:lnTo>
                    <a:pt x="81307" y="30784"/>
                  </a:lnTo>
                  <a:lnTo>
                    <a:pt x="81102" y="30784"/>
                  </a:lnTo>
                  <a:lnTo>
                    <a:pt x="81920" y="30170"/>
                  </a:lnTo>
                  <a:lnTo>
                    <a:pt x="81920" y="30170"/>
                  </a:lnTo>
                  <a:lnTo>
                    <a:pt x="81000" y="30477"/>
                  </a:lnTo>
                  <a:lnTo>
                    <a:pt x="81409" y="30170"/>
                  </a:lnTo>
                  <a:lnTo>
                    <a:pt x="81205" y="30068"/>
                  </a:lnTo>
                  <a:lnTo>
                    <a:pt x="81307" y="29966"/>
                  </a:lnTo>
                  <a:lnTo>
                    <a:pt x="81102" y="30068"/>
                  </a:lnTo>
                  <a:lnTo>
                    <a:pt x="81716" y="29557"/>
                  </a:lnTo>
                  <a:lnTo>
                    <a:pt x="81000" y="29455"/>
                  </a:lnTo>
                  <a:lnTo>
                    <a:pt x="81102" y="29250"/>
                  </a:lnTo>
                  <a:lnTo>
                    <a:pt x="80284" y="29761"/>
                  </a:lnTo>
                  <a:lnTo>
                    <a:pt x="80489" y="29250"/>
                  </a:lnTo>
                  <a:lnTo>
                    <a:pt x="80489" y="29250"/>
                  </a:lnTo>
                  <a:lnTo>
                    <a:pt x="80284" y="29455"/>
                  </a:lnTo>
                  <a:lnTo>
                    <a:pt x="80386" y="29352"/>
                  </a:lnTo>
                  <a:lnTo>
                    <a:pt x="79773" y="29352"/>
                  </a:lnTo>
                  <a:lnTo>
                    <a:pt x="79977" y="29148"/>
                  </a:lnTo>
                  <a:lnTo>
                    <a:pt x="79773" y="29250"/>
                  </a:lnTo>
                  <a:lnTo>
                    <a:pt x="80386" y="28841"/>
                  </a:lnTo>
                  <a:lnTo>
                    <a:pt x="79261" y="29250"/>
                  </a:lnTo>
                  <a:lnTo>
                    <a:pt x="80489" y="27716"/>
                  </a:lnTo>
                  <a:lnTo>
                    <a:pt x="80591" y="27511"/>
                  </a:lnTo>
                  <a:lnTo>
                    <a:pt x="80898" y="27307"/>
                  </a:lnTo>
                  <a:close/>
                  <a:moveTo>
                    <a:pt x="239523" y="32216"/>
                  </a:moveTo>
                  <a:lnTo>
                    <a:pt x="240239" y="32830"/>
                  </a:lnTo>
                  <a:lnTo>
                    <a:pt x="239727" y="32318"/>
                  </a:lnTo>
                  <a:lnTo>
                    <a:pt x="239523" y="32216"/>
                  </a:lnTo>
                  <a:close/>
                  <a:moveTo>
                    <a:pt x="232875" y="24443"/>
                  </a:moveTo>
                  <a:lnTo>
                    <a:pt x="232773" y="24648"/>
                  </a:lnTo>
                  <a:lnTo>
                    <a:pt x="233591" y="25159"/>
                  </a:lnTo>
                  <a:lnTo>
                    <a:pt x="233489" y="25261"/>
                  </a:lnTo>
                  <a:lnTo>
                    <a:pt x="233386" y="25364"/>
                  </a:lnTo>
                  <a:lnTo>
                    <a:pt x="234511" y="27102"/>
                  </a:lnTo>
                  <a:lnTo>
                    <a:pt x="239216" y="32932"/>
                  </a:lnTo>
                  <a:lnTo>
                    <a:pt x="239114" y="32114"/>
                  </a:lnTo>
                  <a:lnTo>
                    <a:pt x="239523" y="32216"/>
                  </a:lnTo>
                  <a:lnTo>
                    <a:pt x="239523" y="32216"/>
                  </a:lnTo>
                  <a:lnTo>
                    <a:pt x="238193" y="31091"/>
                  </a:lnTo>
                  <a:lnTo>
                    <a:pt x="237784" y="29557"/>
                  </a:lnTo>
                  <a:lnTo>
                    <a:pt x="239318" y="30170"/>
                  </a:lnTo>
                  <a:lnTo>
                    <a:pt x="232875" y="24443"/>
                  </a:lnTo>
                  <a:close/>
                  <a:moveTo>
                    <a:pt x="244841" y="33341"/>
                  </a:moveTo>
                  <a:lnTo>
                    <a:pt x="244330" y="33443"/>
                  </a:lnTo>
                  <a:lnTo>
                    <a:pt x="244432" y="33648"/>
                  </a:lnTo>
                  <a:lnTo>
                    <a:pt x="244125" y="34364"/>
                  </a:lnTo>
                  <a:lnTo>
                    <a:pt x="244125" y="34466"/>
                  </a:lnTo>
                  <a:lnTo>
                    <a:pt x="244330" y="33955"/>
                  </a:lnTo>
                  <a:lnTo>
                    <a:pt x="245045" y="33545"/>
                  </a:lnTo>
                  <a:lnTo>
                    <a:pt x="244841" y="33341"/>
                  </a:lnTo>
                  <a:close/>
                  <a:moveTo>
                    <a:pt x="243409" y="34466"/>
                  </a:moveTo>
                  <a:lnTo>
                    <a:pt x="243409" y="35080"/>
                  </a:lnTo>
                  <a:lnTo>
                    <a:pt x="243614" y="35284"/>
                  </a:lnTo>
                  <a:lnTo>
                    <a:pt x="243920" y="34466"/>
                  </a:lnTo>
                  <a:close/>
                  <a:moveTo>
                    <a:pt x="54102" y="29864"/>
                  </a:moveTo>
                  <a:lnTo>
                    <a:pt x="56352" y="30886"/>
                  </a:lnTo>
                  <a:lnTo>
                    <a:pt x="56045" y="31193"/>
                  </a:lnTo>
                  <a:lnTo>
                    <a:pt x="56250" y="31602"/>
                  </a:lnTo>
                  <a:lnTo>
                    <a:pt x="56045" y="31807"/>
                  </a:lnTo>
                  <a:lnTo>
                    <a:pt x="56250" y="32011"/>
                  </a:lnTo>
                  <a:lnTo>
                    <a:pt x="56045" y="32114"/>
                  </a:lnTo>
                  <a:lnTo>
                    <a:pt x="56148" y="32114"/>
                  </a:lnTo>
                  <a:lnTo>
                    <a:pt x="55943" y="32318"/>
                  </a:lnTo>
                  <a:lnTo>
                    <a:pt x="58193" y="32727"/>
                  </a:lnTo>
                  <a:lnTo>
                    <a:pt x="58091" y="32830"/>
                  </a:lnTo>
                  <a:lnTo>
                    <a:pt x="58500" y="32830"/>
                  </a:lnTo>
                  <a:lnTo>
                    <a:pt x="58500" y="32932"/>
                  </a:lnTo>
                  <a:lnTo>
                    <a:pt x="58909" y="33239"/>
                  </a:lnTo>
                  <a:lnTo>
                    <a:pt x="59114" y="34057"/>
                  </a:lnTo>
                  <a:lnTo>
                    <a:pt x="59216" y="34057"/>
                  </a:lnTo>
                  <a:lnTo>
                    <a:pt x="59216" y="34159"/>
                  </a:lnTo>
                  <a:lnTo>
                    <a:pt x="59011" y="34057"/>
                  </a:lnTo>
                  <a:lnTo>
                    <a:pt x="58807" y="34364"/>
                  </a:lnTo>
                  <a:lnTo>
                    <a:pt x="58091" y="34261"/>
                  </a:lnTo>
                  <a:lnTo>
                    <a:pt x="57989" y="34159"/>
                  </a:lnTo>
                  <a:lnTo>
                    <a:pt x="58193" y="33955"/>
                  </a:lnTo>
                  <a:lnTo>
                    <a:pt x="58091" y="33955"/>
                  </a:lnTo>
                  <a:lnTo>
                    <a:pt x="58091" y="33648"/>
                  </a:lnTo>
                  <a:lnTo>
                    <a:pt x="57682" y="33648"/>
                  </a:lnTo>
                  <a:lnTo>
                    <a:pt x="56250" y="35898"/>
                  </a:lnTo>
                  <a:lnTo>
                    <a:pt x="56045" y="34875"/>
                  </a:lnTo>
                  <a:lnTo>
                    <a:pt x="55330" y="35182"/>
                  </a:lnTo>
                  <a:lnTo>
                    <a:pt x="55330" y="35182"/>
                  </a:lnTo>
                  <a:lnTo>
                    <a:pt x="56352" y="33750"/>
                  </a:lnTo>
                  <a:lnTo>
                    <a:pt x="56250" y="33443"/>
                  </a:lnTo>
                  <a:lnTo>
                    <a:pt x="55330" y="33136"/>
                  </a:lnTo>
                  <a:lnTo>
                    <a:pt x="54409" y="34159"/>
                  </a:lnTo>
                  <a:lnTo>
                    <a:pt x="54614" y="33648"/>
                  </a:lnTo>
                  <a:lnTo>
                    <a:pt x="52568" y="36818"/>
                  </a:lnTo>
                  <a:lnTo>
                    <a:pt x="51545" y="37125"/>
                  </a:lnTo>
                  <a:lnTo>
                    <a:pt x="52773" y="34364"/>
                  </a:lnTo>
                  <a:lnTo>
                    <a:pt x="52364" y="34364"/>
                  </a:lnTo>
                  <a:lnTo>
                    <a:pt x="53693" y="32932"/>
                  </a:lnTo>
                  <a:lnTo>
                    <a:pt x="53693" y="33136"/>
                  </a:lnTo>
                  <a:lnTo>
                    <a:pt x="54102" y="32932"/>
                  </a:lnTo>
                  <a:lnTo>
                    <a:pt x="53898" y="33239"/>
                  </a:lnTo>
                  <a:lnTo>
                    <a:pt x="53898" y="33239"/>
                  </a:lnTo>
                  <a:lnTo>
                    <a:pt x="55125" y="32727"/>
                  </a:lnTo>
                  <a:lnTo>
                    <a:pt x="55534" y="32932"/>
                  </a:lnTo>
                  <a:lnTo>
                    <a:pt x="55636" y="32830"/>
                  </a:lnTo>
                  <a:lnTo>
                    <a:pt x="56250" y="32830"/>
                  </a:lnTo>
                  <a:lnTo>
                    <a:pt x="55534" y="32318"/>
                  </a:lnTo>
                  <a:lnTo>
                    <a:pt x="55739" y="32114"/>
                  </a:lnTo>
                  <a:lnTo>
                    <a:pt x="53693" y="32318"/>
                  </a:lnTo>
                  <a:lnTo>
                    <a:pt x="53591" y="32011"/>
                  </a:lnTo>
                  <a:lnTo>
                    <a:pt x="52977" y="32011"/>
                  </a:lnTo>
                  <a:lnTo>
                    <a:pt x="52977" y="31602"/>
                  </a:lnTo>
                  <a:lnTo>
                    <a:pt x="50830" y="32216"/>
                  </a:lnTo>
                  <a:lnTo>
                    <a:pt x="50830" y="31909"/>
                  </a:lnTo>
                  <a:lnTo>
                    <a:pt x="50011" y="32011"/>
                  </a:lnTo>
                  <a:lnTo>
                    <a:pt x="53489" y="30273"/>
                  </a:lnTo>
                  <a:lnTo>
                    <a:pt x="53489" y="30273"/>
                  </a:lnTo>
                  <a:lnTo>
                    <a:pt x="53693" y="30068"/>
                  </a:lnTo>
                  <a:lnTo>
                    <a:pt x="53898" y="30068"/>
                  </a:lnTo>
                  <a:lnTo>
                    <a:pt x="53591" y="30375"/>
                  </a:lnTo>
                  <a:lnTo>
                    <a:pt x="54102" y="30068"/>
                  </a:lnTo>
                  <a:lnTo>
                    <a:pt x="54102" y="29864"/>
                  </a:lnTo>
                  <a:close/>
                  <a:moveTo>
                    <a:pt x="131932" y="36000"/>
                  </a:moveTo>
                  <a:lnTo>
                    <a:pt x="131830" y="36205"/>
                  </a:lnTo>
                  <a:lnTo>
                    <a:pt x="131216" y="36511"/>
                  </a:lnTo>
                  <a:lnTo>
                    <a:pt x="131318" y="36614"/>
                  </a:lnTo>
                  <a:lnTo>
                    <a:pt x="131318" y="37023"/>
                  </a:lnTo>
                  <a:lnTo>
                    <a:pt x="131830" y="37432"/>
                  </a:lnTo>
                  <a:lnTo>
                    <a:pt x="131932" y="36000"/>
                  </a:lnTo>
                  <a:close/>
                  <a:moveTo>
                    <a:pt x="239216" y="33443"/>
                  </a:moveTo>
                  <a:lnTo>
                    <a:pt x="240341" y="35693"/>
                  </a:lnTo>
                  <a:lnTo>
                    <a:pt x="239625" y="35591"/>
                  </a:lnTo>
                  <a:lnTo>
                    <a:pt x="239625" y="36205"/>
                  </a:lnTo>
                  <a:lnTo>
                    <a:pt x="240750" y="37432"/>
                  </a:lnTo>
                  <a:lnTo>
                    <a:pt x="240750" y="37125"/>
                  </a:lnTo>
                  <a:lnTo>
                    <a:pt x="241159" y="37125"/>
                  </a:lnTo>
                  <a:lnTo>
                    <a:pt x="240239" y="36614"/>
                  </a:lnTo>
                  <a:lnTo>
                    <a:pt x="240341" y="36307"/>
                  </a:lnTo>
                  <a:lnTo>
                    <a:pt x="240750" y="36511"/>
                  </a:lnTo>
                  <a:lnTo>
                    <a:pt x="241364" y="36409"/>
                  </a:lnTo>
                  <a:lnTo>
                    <a:pt x="242795" y="36920"/>
                  </a:lnTo>
                  <a:lnTo>
                    <a:pt x="242693" y="36409"/>
                  </a:lnTo>
                  <a:lnTo>
                    <a:pt x="244023" y="35489"/>
                  </a:lnTo>
                  <a:lnTo>
                    <a:pt x="243716" y="35591"/>
                  </a:lnTo>
                  <a:lnTo>
                    <a:pt x="243205" y="35284"/>
                  </a:lnTo>
                  <a:lnTo>
                    <a:pt x="242898" y="34568"/>
                  </a:lnTo>
                  <a:lnTo>
                    <a:pt x="242284" y="34875"/>
                  </a:lnTo>
                  <a:lnTo>
                    <a:pt x="239216" y="33443"/>
                  </a:lnTo>
                  <a:close/>
                  <a:moveTo>
                    <a:pt x="143693" y="38659"/>
                  </a:moveTo>
                  <a:lnTo>
                    <a:pt x="144000" y="38864"/>
                  </a:lnTo>
                  <a:lnTo>
                    <a:pt x="143740" y="38678"/>
                  </a:lnTo>
                  <a:lnTo>
                    <a:pt x="143740" y="38678"/>
                  </a:lnTo>
                  <a:lnTo>
                    <a:pt x="143693" y="38659"/>
                  </a:lnTo>
                  <a:close/>
                  <a:moveTo>
                    <a:pt x="155250" y="31602"/>
                  </a:moveTo>
                  <a:lnTo>
                    <a:pt x="155148" y="31705"/>
                  </a:lnTo>
                  <a:lnTo>
                    <a:pt x="155659" y="31705"/>
                  </a:lnTo>
                  <a:lnTo>
                    <a:pt x="155148" y="32011"/>
                  </a:lnTo>
                  <a:lnTo>
                    <a:pt x="155148" y="32216"/>
                  </a:lnTo>
                  <a:lnTo>
                    <a:pt x="154636" y="32216"/>
                  </a:lnTo>
                  <a:lnTo>
                    <a:pt x="155250" y="32727"/>
                  </a:lnTo>
                  <a:lnTo>
                    <a:pt x="154943" y="32932"/>
                  </a:lnTo>
                  <a:lnTo>
                    <a:pt x="154739" y="33341"/>
                  </a:lnTo>
                  <a:lnTo>
                    <a:pt x="154023" y="33443"/>
                  </a:lnTo>
                  <a:lnTo>
                    <a:pt x="154125" y="33545"/>
                  </a:lnTo>
                  <a:lnTo>
                    <a:pt x="153920" y="33648"/>
                  </a:lnTo>
                  <a:lnTo>
                    <a:pt x="158318" y="36205"/>
                  </a:lnTo>
                  <a:lnTo>
                    <a:pt x="158318" y="37636"/>
                  </a:lnTo>
                  <a:lnTo>
                    <a:pt x="148398" y="37636"/>
                  </a:lnTo>
                  <a:lnTo>
                    <a:pt x="149011" y="38148"/>
                  </a:lnTo>
                  <a:lnTo>
                    <a:pt x="148193" y="38352"/>
                  </a:lnTo>
                  <a:lnTo>
                    <a:pt x="148398" y="38455"/>
                  </a:lnTo>
                  <a:lnTo>
                    <a:pt x="147477" y="38557"/>
                  </a:lnTo>
                  <a:lnTo>
                    <a:pt x="147273" y="38455"/>
                  </a:lnTo>
                  <a:lnTo>
                    <a:pt x="147273" y="38455"/>
                  </a:lnTo>
                  <a:lnTo>
                    <a:pt x="147375" y="38557"/>
                  </a:lnTo>
                  <a:lnTo>
                    <a:pt x="146761" y="38455"/>
                  </a:lnTo>
                  <a:lnTo>
                    <a:pt x="146045" y="38864"/>
                  </a:lnTo>
                  <a:lnTo>
                    <a:pt x="146045" y="38864"/>
                  </a:lnTo>
                  <a:lnTo>
                    <a:pt x="147580" y="37841"/>
                  </a:lnTo>
                  <a:lnTo>
                    <a:pt x="148091" y="37943"/>
                  </a:lnTo>
                  <a:lnTo>
                    <a:pt x="148091" y="37943"/>
                  </a:lnTo>
                  <a:lnTo>
                    <a:pt x="146864" y="36409"/>
                  </a:lnTo>
                  <a:lnTo>
                    <a:pt x="147682" y="34364"/>
                  </a:lnTo>
                  <a:lnTo>
                    <a:pt x="147886" y="33955"/>
                  </a:lnTo>
                  <a:lnTo>
                    <a:pt x="147886" y="34159"/>
                  </a:lnTo>
                  <a:lnTo>
                    <a:pt x="148295" y="33545"/>
                  </a:lnTo>
                  <a:lnTo>
                    <a:pt x="148193" y="33239"/>
                  </a:lnTo>
                  <a:lnTo>
                    <a:pt x="149523" y="32011"/>
                  </a:lnTo>
                  <a:lnTo>
                    <a:pt x="149830" y="32114"/>
                  </a:lnTo>
                  <a:lnTo>
                    <a:pt x="149625" y="31602"/>
                  </a:lnTo>
                  <a:lnTo>
                    <a:pt x="150443" y="32216"/>
                  </a:lnTo>
                  <a:lnTo>
                    <a:pt x="149625" y="32318"/>
                  </a:lnTo>
                  <a:lnTo>
                    <a:pt x="150341" y="32727"/>
                  </a:lnTo>
                  <a:lnTo>
                    <a:pt x="151159" y="32727"/>
                  </a:lnTo>
                  <a:lnTo>
                    <a:pt x="151261" y="33034"/>
                  </a:lnTo>
                  <a:lnTo>
                    <a:pt x="150545" y="33443"/>
                  </a:lnTo>
                  <a:lnTo>
                    <a:pt x="151466" y="33852"/>
                  </a:lnTo>
                  <a:lnTo>
                    <a:pt x="151466" y="34364"/>
                  </a:lnTo>
                  <a:lnTo>
                    <a:pt x="152080" y="34364"/>
                  </a:lnTo>
                  <a:lnTo>
                    <a:pt x="153102" y="33750"/>
                  </a:lnTo>
                  <a:lnTo>
                    <a:pt x="153614" y="33852"/>
                  </a:lnTo>
                  <a:lnTo>
                    <a:pt x="153818" y="33443"/>
                  </a:lnTo>
                  <a:lnTo>
                    <a:pt x="152795" y="33443"/>
                  </a:lnTo>
                  <a:lnTo>
                    <a:pt x="152386" y="32830"/>
                  </a:lnTo>
                  <a:lnTo>
                    <a:pt x="152591" y="32420"/>
                  </a:lnTo>
                  <a:lnTo>
                    <a:pt x="152489" y="32727"/>
                  </a:lnTo>
                  <a:lnTo>
                    <a:pt x="152489" y="32727"/>
                  </a:lnTo>
                  <a:lnTo>
                    <a:pt x="155250" y="31602"/>
                  </a:lnTo>
                  <a:close/>
                  <a:moveTo>
                    <a:pt x="144000" y="38864"/>
                  </a:moveTo>
                  <a:lnTo>
                    <a:pt x="144000" y="38864"/>
                  </a:lnTo>
                  <a:lnTo>
                    <a:pt x="144000" y="38864"/>
                  </a:lnTo>
                  <a:close/>
                  <a:moveTo>
                    <a:pt x="144000" y="38864"/>
                  </a:moveTo>
                  <a:lnTo>
                    <a:pt x="144000" y="38864"/>
                  </a:lnTo>
                  <a:lnTo>
                    <a:pt x="144000" y="38864"/>
                  </a:lnTo>
                  <a:close/>
                  <a:moveTo>
                    <a:pt x="131011" y="37943"/>
                  </a:moveTo>
                  <a:lnTo>
                    <a:pt x="131011" y="38250"/>
                  </a:lnTo>
                  <a:lnTo>
                    <a:pt x="131216" y="39580"/>
                  </a:lnTo>
                  <a:lnTo>
                    <a:pt x="132136" y="39682"/>
                  </a:lnTo>
                  <a:lnTo>
                    <a:pt x="132136" y="37943"/>
                  </a:lnTo>
                  <a:close/>
                  <a:moveTo>
                    <a:pt x="165580" y="31807"/>
                  </a:moveTo>
                  <a:lnTo>
                    <a:pt x="166091" y="32011"/>
                  </a:lnTo>
                  <a:lnTo>
                    <a:pt x="166295" y="31909"/>
                  </a:lnTo>
                  <a:lnTo>
                    <a:pt x="166705" y="31909"/>
                  </a:lnTo>
                  <a:lnTo>
                    <a:pt x="167420" y="33545"/>
                  </a:lnTo>
                  <a:lnTo>
                    <a:pt x="165886" y="33545"/>
                  </a:lnTo>
                  <a:lnTo>
                    <a:pt x="166193" y="34364"/>
                  </a:lnTo>
                  <a:lnTo>
                    <a:pt x="165273" y="34568"/>
                  </a:lnTo>
                  <a:lnTo>
                    <a:pt x="165682" y="34670"/>
                  </a:lnTo>
                  <a:lnTo>
                    <a:pt x="166398" y="35693"/>
                  </a:lnTo>
                  <a:lnTo>
                    <a:pt x="166705" y="35795"/>
                  </a:lnTo>
                  <a:lnTo>
                    <a:pt x="166909" y="36000"/>
                  </a:lnTo>
                  <a:lnTo>
                    <a:pt x="167420" y="36102"/>
                  </a:lnTo>
                  <a:lnTo>
                    <a:pt x="168136" y="37739"/>
                  </a:lnTo>
                  <a:lnTo>
                    <a:pt x="168136" y="36818"/>
                  </a:lnTo>
                  <a:lnTo>
                    <a:pt x="169670" y="37841"/>
                  </a:lnTo>
                  <a:lnTo>
                    <a:pt x="169466" y="38250"/>
                  </a:lnTo>
                  <a:lnTo>
                    <a:pt x="168239" y="37841"/>
                  </a:lnTo>
                  <a:lnTo>
                    <a:pt x="168648" y="39068"/>
                  </a:lnTo>
                  <a:lnTo>
                    <a:pt x="168955" y="38864"/>
                  </a:lnTo>
                  <a:lnTo>
                    <a:pt x="169159" y="39273"/>
                  </a:lnTo>
                  <a:lnTo>
                    <a:pt x="168852" y="39273"/>
                  </a:lnTo>
                  <a:lnTo>
                    <a:pt x="168852" y="39580"/>
                  </a:lnTo>
                  <a:lnTo>
                    <a:pt x="169261" y="39682"/>
                  </a:lnTo>
                  <a:lnTo>
                    <a:pt x="169773" y="42034"/>
                  </a:lnTo>
                  <a:lnTo>
                    <a:pt x="169977" y="42034"/>
                  </a:lnTo>
                  <a:lnTo>
                    <a:pt x="169773" y="42136"/>
                  </a:lnTo>
                  <a:lnTo>
                    <a:pt x="169773" y="42034"/>
                  </a:lnTo>
                  <a:lnTo>
                    <a:pt x="167420" y="42136"/>
                  </a:lnTo>
                  <a:lnTo>
                    <a:pt x="165580" y="41114"/>
                  </a:lnTo>
                  <a:lnTo>
                    <a:pt x="165375" y="39682"/>
                  </a:lnTo>
                  <a:lnTo>
                    <a:pt x="165375" y="39682"/>
                  </a:lnTo>
                  <a:lnTo>
                    <a:pt x="165477" y="39886"/>
                  </a:lnTo>
                  <a:lnTo>
                    <a:pt x="166295" y="38659"/>
                  </a:lnTo>
                  <a:lnTo>
                    <a:pt x="163227" y="35693"/>
                  </a:lnTo>
                  <a:lnTo>
                    <a:pt x="163227" y="35080"/>
                  </a:lnTo>
                  <a:lnTo>
                    <a:pt x="163125" y="35386"/>
                  </a:lnTo>
                  <a:lnTo>
                    <a:pt x="162307" y="34261"/>
                  </a:lnTo>
                  <a:lnTo>
                    <a:pt x="162409" y="34057"/>
                  </a:lnTo>
                  <a:lnTo>
                    <a:pt x="162511" y="34057"/>
                  </a:lnTo>
                  <a:lnTo>
                    <a:pt x="162614" y="33136"/>
                  </a:lnTo>
                  <a:lnTo>
                    <a:pt x="162818" y="33239"/>
                  </a:lnTo>
                  <a:lnTo>
                    <a:pt x="163636" y="32932"/>
                  </a:lnTo>
                  <a:lnTo>
                    <a:pt x="163534" y="32727"/>
                  </a:lnTo>
                  <a:lnTo>
                    <a:pt x="163943" y="32523"/>
                  </a:lnTo>
                  <a:lnTo>
                    <a:pt x="164045" y="32420"/>
                  </a:lnTo>
                  <a:lnTo>
                    <a:pt x="163943" y="32318"/>
                  </a:lnTo>
                  <a:lnTo>
                    <a:pt x="165580" y="31807"/>
                  </a:lnTo>
                  <a:close/>
                  <a:moveTo>
                    <a:pt x="137352" y="40602"/>
                  </a:moveTo>
                  <a:lnTo>
                    <a:pt x="135511" y="40807"/>
                  </a:lnTo>
                  <a:lnTo>
                    <a:pt x="134898" y="40705"/>
                  </a:lnTo>
                  <a:lnTo>
                    <a:pt x="137045" y="42239"/>
                  </a:lnTo>
                  <a:lnTo>
                    <a:pt x="137148" y="41932"/>
                  </a:lnTo>
                  <a:lnTo>
                    <a:pt x="137045" y="41625"/>
                  </a:lnTo>
                  <a:lnTo>
                    <a:pt x="137352" y="40602"/>
                  </a:lnTo>
                  <a:close/>
                  <a:moveTo>
                    <a:pt x="146659" y="43670"/>
                  </a:moveTo>
                  <a:lnTo>
                    <a:pt x="146148" y="43875"/>
                  </a:lnTo>
                  <a:lnTo>
                    <a:pt x="146250" y="43875"/>
                  </a:lnTo>
                  <a:lnTo>
                    <a:pt x="146659" y="43670"/>
                  </a:lnTo>
                  <a:close/>
                  <a:moveTo>
                    <a:pt x="144409" y="43364"/>
                  </a:moveTo>
                  <a:lnTo>
                    <a:pt x="144307" y="43466"/>
                  </a:lnTo>
                  <a:lnTo>
                    <a:pt x="144307" y="43773"/>
                  </a:lnTo>
                  <a:lnTo>
                    <a:pt x="145330" y="44080"/>
                  </a:lnTo>
                  <a:lnTo>
                    <a:pt x="146148" y="43875"/>
                  </a:lnTo>
                  <a:lnTo>
                    <a:pt x="146045" y="43670"/>
                  </a:lnTo>
                  <a:lnTo>
                    <a:pt x="144716" y="43568"/>
                  </a:lnTo>
                  <a:lnTo>
                    <a:pt x="144818" y="43466"/>
                  </a:lnTo>
                  <a:lnTo>
                    <a:pt x="144409" y="43364"/>
                  </a:lnTo>
                  <a:close/>
                  <a:moveTo>
                    <a:pt x="153614" y="43364"/>
                  </a:moveTo>
                  <a:lnTo>
                    <a:pt x="151773" y="43977"/>
                  </a:lnTo>
                  <a:lnTo>
                    <a:pt x="152489" y="44489"/>
                  </a:lnTo>
                  <a:lnTo>
                    <a:pt x="153307" y="44080"/>
                  </a:lnTo>
                  <a:lnTo>
                    <a:pt x="153614" y="43466"/>
                  </a:lnTo>
                  <a:lnTo>
                    <a:pt x="153614" y="43364"/>
                  </a:lnTo>
                  <a:close/>
                  <a:moveTo>
                    <a:pt x="241568" y="37534"/>
                  </a:moveTo>
                  <a:lnTo>
                    <a:pt x="241261" y="37636"/>
                  </a:lnTo>
                  <a:lnTo>
                    <a:pt x="241670" y="37739"/>
                  </a:lnTo>
                  <a:lnTo>
                    <a:pt x="241466" y="38045"/>
                  </a:lnTo>
                  <a:lnTo>
                    <a:pt x="240955" y="37636"/>
                  </a:lnTo>
                  <a:lnTo>
                    <a:pt x="241057" y="37943"/>
                  </a:lnTo>
                  <a:lnTo>
                    <a:pt x="240955" y="38148"/>
                  </a:lnTo>
                  <a:lnTo>
                    <a:pt x="241261" y="38864"/>
                  </a:lnTo>
                  <a:lnTo>
                    <a:pt x="241159" y="38864"/>
                  </a:lnTo>
                  <a:lnTo>
                    <a:pt x="241875" y="40807"/>
                  </a:lnTo>
                  <a:lnTo>
                    <a:pt x="241670" y="41114"/>
                  </a:lnTo>
                  <a:lnTo>
                    <a:pt x="241466" y="41727"/>
                  </a:lnTo>
                  <a:lnTo>
                    <a:pt x="240955" y="42136"/>
                  </a:lnTo>
                  <a:lnTo>
                    <a:pt x="240443" y="41932"/>
                  </a:lnTo>
                  <a:lnTo>
                    <a:pt x="240545" y="41420"/>
                  </a:lnTo>
                  <a:lnTo>
                    <a:pt x="240545" y="41420"/>
                  </a:lnTo>
                  <a:lnTo>
                    <a:pt x="240136" y="41727"/>
                  </a:lnTo>
                  <a:lnTo>
                    <a:pt x="240341" y="43261"/>
                  </a:lnTo>
                  <a:lnTo>
                    <a:pt x="239727" y="43466"/>
                  </a:lnTo>
                  <a:lnTo>
                    <a:pt x="239420" y="43364"/>
                  </a:lnTo>
                  <a:lnTo>
                    <a:pt x="237477" y="43977"/>
                  </a:lnTo>
                  <a:lnTo>
                    <a:pt x="236761" y="45102"/>
                  </a:lnTo>
                  <a:lnTo>
                    <a:pt x="237886" y="45205"/>
                  </a:lnTo>
                  <a:lnTo>
                    <a:pt x="237784" y="44795"/>
                  </a:lnTo>
                  <a:lnTo>
                    <a:pt x="240341" y="44489"/>
                  </a:lnTo>
                  <a:lnTo>
                    <a:pt x="240239" y="44795"/>
                  </a:lnTo>
                  <a:lnTo>
                    <a:pt x="240955" y="45614"/>
                  </a:lnTo>
                  <a:lnTo>
                    <a:pt x="241670" y="44795"/>
                  </a:lnTo>
                  <a:lnTo>
                    <a:pt x="241261" y="44080"/>
                  </a:lnTo>
                  <a:lnTo>
                    <a:pt x="241568" y="44386"/>
                  </a:lnTo>
                  <a:lnTo>
                    <a:pt x="241568" y="44182"/>
                  </a:lnTo>
                  <a:lnTo>
                    <a:pt x="241670" y="44489"/>
                  </a:lnTo>
                  <a:lnTo>
                    <a:pt x="242693" y="44489"/>
                  </a:lnTo>
                  <a:lnTo>
                    <a:pt x="243102" y="43977"/>
                  </a:lnTo>
                  <a:lnTo>
                    <a:pt x="243307" y="43977"/>
                  </a:lnTo>
                  <a:lnTo>
                    <a:pt x="243409" y="43773"/>
                  </a:lnTo>
                  <a:lnTo>
                    <a:pt x="243614" y="43773"/>
                  </a:lnTo>
                  <a:lnTo>
                    <a:pt x="243511" y="43364"/>
                  </a:lnTo>
                  <a:lnTo>
                    <a:pt x="243818" y="43466"/>
                  </a:lnTo>
                  <a:lnTo>
                    <a:pt x="243818" y="43773"/>
                  </a:lnTo>
                  <a:lnTo>
                    <a:pt x="244023" y="44182"/>
                  </a:lnTo>
                  <a:lnTo>
                    <a:pt x="244432" y="43261"/>
                  </a:lnTo>
                  <a:lnTo>
                    <a:pt x="244023" y="42852"/>
                  </a:lnTo>
                  <a:lnTo>
                    <a:pt x="243205" y="40602"/>
                  </a:lnTo>
                  <a:lnTo>
                    <a:pt x="243511" y="40500"/>
                  </a:lnTo>
                  <a:lnTo>
                    <a:pt x="243409" y="39886"/>
                  </a:lnTo>
                  <a:lnTo>
                    <a:pt x="243409" y="39784"/>
                  </a:lnTo>
                  <a:lnTo>
                    <a:pt x="241568" y="37534"/>
                  </a:lnTo>
                  <a:close/>
                  <a:moveTo>
                    <a:pt x="238909" y="44795"/>
                  </a:moveTo>
                  <a:lnTo>
                    <a:pt x="238807" y="45102"/>
                  </a:lnTo>
                  <a:lnTo>
                    <a:pt x="238398" y="45000"/>
                  </a:lnTo>
                  <a:lnTo>
                    <a:pt x="238295" y="45307"/>
                  </a:lnTo>
                  <a:lnTo>
                    <a:pt x="237989" y="45716"/>
                  </a:lnTo>
                  <a:lnTo>
                    <a:pt x="238398" y="45920"/>
                  </a:lnTo>
                  <a:lnTo>
                    <a:pt x="238705" y="46330"/>
                  </a:lnTo>
                  <a:lnTo>
                    <a:pt x="239523" y="45614"/>
                  </a:lnTo>
                  <a:lnTo>
                    <a:pt x="239830" y="45818"/>
                  </a:lnTo>
                  <a:lnTo>
                    <a:pt x="240034" y="45307"/>
                  </a:lnTo>
                  <a:lnTo>
                    <a:pt x="239625" y="44795"/>
                  </a:lnTo>
                  <a:close/>
                  <a:moveTo>
                    <a:pt x="151875" y="47659"/>
                  </a:moveTo>
                  <a:lnTo>
                    <a:pt x="151773" y="47761"/>
                  </a:lnTo>
                  <a:lnTo>
                    <a:pt x="152080" y="47864"/>
                  </a:lnTo>
                  <a:lnTo>
                    <a:pt x="151875" y="47659"/>
                  </a:lnTo>
                  <a:close/>
                  <a:moveTo>
                    <a:pt x="236455" y="45307"/>
                  </a:moveTo>
                  <a:lnTo>
                    <a:pt x="236045" y="45614"/>
                  </a:lnTo>
                  <a:lnTo>
                    <a:pt x="236045" y="45818"/>
                  </a:lnTo>
                  <a:lnTo>
                    <a:pt x="235943" y="45716"/>
                  </a:lnTo>
                  <a:lnTo>
                    <a:pt x="236352" y="46227"/>
                  </a:lnTo>
                  <a:lnTo>
                    <a:pt x="236045" y="46023"/>
                  </a:lnTo>
                  <a:lnTo>
                    <a:pt x="236352" y="46534"/>
                  </a:lnTo>
                  <a:lnTo>
                    <a:pt x="236659" y="46227"/>
                  </a:lnTo>
                  <a:lnTo>
                    <a:pt x="236455" y="46023"/>
                  </a:lnTo>
                  <a:lnTo>
                    <a:pt x="236659" y="46125"/>
                  </a:lnTo>
                  <a:lnTo>
                    <a:pt x="236966" y="46534"/>
                  </a:lnTo>
                  <a:lnTo>
                    <a:pt x="237068" y="47761"/>
                  </a:lnTo>
                  <a:lnTo>
                    <a:pt x="237580" y="47966"/>
                  </a:lnTo>
                  <a:lnTo>
                    <a:pt x="237580" y="47455"/>
                  </a:lnTo>
                  <a:lnTo>
                    <a:pt x="237784" y="48170"/>
                  </a:lnTo>
                  <a:lnTo>
                    <a:pt x="237886" y="47966"/>
                  </a:lnTo>
                  <a:lnTo>
                    <a:pt x="237886" y="47761"/>
                  </a:lnTo>
                  <a:lnTo>
                    <a:pt x="238193" y="47761"/>
                  </a:lnTo>
                  <a:lnTo>
                    <a:pt x="237886" y="45818"/>
                  </a:lnTo>
                  <a:lnTo>
                    <a:pt x="237580" y="45818"/>
                  </a:lnTo>
                  <a:lnTo>
                    <a:pt x="237477" y="45409"/>
                  </a:lnTo>
                  <a:lnTo>
                    <a:pt x="237273" y="45511"/>
                  </a:lnTo>
                  <a:lnTo>
                    <a:pt x="236864" y="45307"/>
                  </a:lnTo>
                  <a:close/>
                  <a:moveTo>
                    <a:pt x="49602" y="49398"/>
                  </a:moveTo>
                  <a:lnTo>
                    <a:pt x="49705" y="49500"/>
                  </a:lnTo>
                  <a:lnTo>
                    <a:pt x="49655" y="49401"/>
                  </a:lnTo>
                  <a:lnTo>
                    <a:pt x="49655" y="49401"/>
                  </a:lnTo>
                  <a:lnTo>
                    <a:pt x="49602" y="49398"/>
                  </a:lnTo>
                  <a:close/>
                  <a:moveTo>
                    <a:pt x="53489" y="53386"/>
                  </a:moveTo>
                  <a:lnTo>
                    <a:pt x="53485" y="53390"/>
                  </a:lnTo>
                  <a:lnTo>
                    <a:pt x="53485" y="53390"/>
                  </a:lnTo>
                  <a:lnTo>
                    <a:pt x="53489" y="53489"/>
                  </a:lnTo>
                  <a:lnTo>
                    <a:pt x="53489" y="53386"/>
                  </a:lnTo>
                  <a:close/>
                  <a:moveTo>
                    <a:pt x="231648" y="54102"/>
                  </a:moveTo>
                  <a:lnTo>
                    <a:pt x="231239" y="54205"/>
                  </a:lnTo>
                  <a:lnTo>
                    <a:pt x="230625" y="55739"/>
                  </a:lnTo>
                  <a:lnTo>
                    <a:pt x="231648" y="57477"/>
                  </a:lnTo>
                  <a:lnTo>
                    <a:pt x="231852" y="54511"/>
                  </a:lnTo>
                  <a:lnTo>
                    <a:pt x="231648" y="54102"/>
                  </a:lnTo>
                  <a:close/>
                  <a:moveTo>
                    <a:pt x="46432" y="57886"/>
                  </a:moveTo>
                  <a:lnTo>
                    <a:pt x="46432" y="57989"/>
                  </a:lnTo>
                  <a:lnTo>
                    <a:pt x="46636" y="57886"/>
                  </a:lnTo>
                  <a:close/>
                  <a:moveTo>
                    <a:pt x="176216" y="59114"/>
                  </a:moveTo>
                  <a:lnTo>
                    <a:pt x="176216" y="59114"/>
                  </a:lnTo>
                  <a:lnTo>
                    <a:pt x="176216" y="59114"/>
                  </a:lnTo>
                  <a:close/>
                  <a:moveTo>
                    <a:pt x="52057" y="56250"/>
                  </a:moveTo>
                  <a:lnTo>
                    <a:pt x="49193" y="57170"/>
                  </a:lnTo>
                  <a:lnTo>
                    <a:pt x="49091" y="57375"/>
                  </a:lnTo>
                  <a:lnTo>
                    <a:pt x="48682" y="57580"/>
                  </a:lnTo>
                  <a:lnTo>
                    <a:pt x="48989" y="57477"/>
                  </a:lnTo>
                  <a:lnTo>
                    <a:pt x="48989" y="57682"/>
                  </a:lnTo>
                  <a:lnTo>
                    <a:pt x="51443" y="56761"/>
                  </a:lnTo>
                  <a:lnTo>
                    <a:pt x="51443" y="56761"/>
                  </a:lnTo>
                  <a:lnTo>
                    <a:pt x="51239" y="56966"/>
                  </a:lnTo>
                  <a:lnTo>
                    <a:pt x="54205" y="57886"/>
                  </a:lnTo>
                  <a:lnTo>
                    <a:pt x="54307" y="58500"/>
                  </a:lnTo>
                  <a:lnTo>
                    <a:pt x="55330" y="58807"/>
                  </a:lnTo>
                  <a:lnTo>
                    <a:pt x="54818" y="59625"/>
                  </a:lnTo>
                  <a:lnTo>
                    <a:pt x="54818" y="59625"/>
                  </a:lnTo>
                  <a:lnTo>
                    <a:pt x="57068" y="59420"/>
                  </a:lnTo>
                  <a:lnTo>
                    <a:pt x="57170" y="59523"/>
                  </a:lnTo>
                  <a:lnTo>
                    <a:pt x="57886" y="59420"/>
                  </a:lnTo>
                  <a:lnTo>
                    <a:pt x="57886" y="59114"/>
                  </a:lnTo>
                  <a:lnTo>
                    <a:pt x="55739" y="58091"/>
                  </a:lnTo>
                  <a:lnTo>
                    <a:pt x="55534" y="57886"/>
                  </a:lnTo>
                  <a:lnTo>
                    <a:pt x="55330" y="57784"/>
                  </a:lnTo>
                  <a:lnTo>
                    <a:pt x="55534" y="57784"/>
                  </a:lnTo>
                  <a:lnTo>
                    <a:pt x="55125" y="57580"/>
                  </a:lnTo>
                  <a:lnTo>
                    <a:pt x="55227" y="57682"/>
                  </a:lnTo>
                  <a:lnTo>
                    <a:pt x="52057" y="56250"/>
                  </a:lnTo>
                  <a:close/>
                  <a:moveTo>
                    <a:pt x="207307" y="59625"/>
                  </a:moveTo>
                  <a:lnTo>
                    <a:pt x="207307" y="59625"/>
                  </a:lnTo>
                  <a:lnTo>
                    <a:pt x="207307" y="59625"/>
                  </a:lnTo>
                  <a:close/>
                  <a:moveTo>
                    <a:pt x="222648" y="59420"/>
                  </a:moveTo>
                  <a:lnTo>
                    <a:pt x="222648" y="59523"/>
                  </a:lnTo>
                  <a:lnTo>
                    <a:pt x="221625" y="59727"/>
                  </a:lnTo>
                  <a:lnTo>
                    <a:pt x="221727" y="59727"/>
                  </a:lnTo>
                  <a:lnTo>
                    <a:pt x="221216" y="60341"/>
                  </a:lnTo>
                  <a:lnTo>
                    <a:pt x="221727" y="61159"/>
                  </a:lnTo>
                  <a:lnTo>
                    <a:pt x="222750" y="60852"/>
                  </a:lnTo>
                  <a:lnTo>
                    <a:pt x="223159" y="59932"/>
                  </a:lnTo>
                  <a:lnTo>
                    <a:pt x="222648" y="59420"/>
                  </a:lnTo>
                  <a:close/>
                  <a:moveTo>
                    <a:pt x="54511" y="60955"/>
                  </a:moveTo>
                  <a:lnTo>
                    <a:pt x="54205" y="61057"/>
                  </a:lnTo>
                  <a:lnTo>
                    <a:pt x="54614" y="61670"/>
                  </a:lnTo>
                  <a:lnTo>
                    <a:pt x="55023" y="61773"/>
                  </a:lnTo>
                  <a:lnTo>
                    <a:pt x="55534" y="61568"/>
                  </a:lnTo>
                  <a:lnTo>
                    <a:pt x="55943" y="61568"/>
                  </a:lnTo>
                  <a:lnTo>
                    <a:pt x="54511" y="60955"/>
                  </a:lnTo>
                  <a:close/>
                  <a:moveTo>
                    <a:pt x="58602" y="59727"/>
                  </a:moveTo>
                  <a:lnTo>
                    <a:pt x="59114" y="60034"/>
                  </a:lnTo>
                  <a:lnTo>
                    <a:pt x="59114" y="60443"/>
                  </a:lnTo>
                  <a:lnTo>
                    <a:pt x="59420" y="60955"/>
                  </a:lnTo>
                  <a:lnTo>
                    <a:pt x="59114" y="61057"/>
                  </a:lnTo>
                  <a:lnTo>
                    <a:pt x="57784" y="60852"/>
                  </a:lnTo>
                  <a:lnTo>
                    <a:pt x="57580" y="61159"/>
                  </a:lnTo>
                  <a:lnTo>
                    <a:pt x="57989" y="61466"/>
                  </a:lnTo>
                  <a:lnTo>
                    <a:pt x="59420" y="61261"/>
                  </a:lnTo>
                  <a:lnTo>
                    <a:pt x="59932" y="61568"/>
                  </a:lnTo>
                  <a:lnTo>
                    <a:pt x="60239" y="61875"/>
                  </a:lnTo>
                  <a:lnTo>
                    <a:pt x="60545" y="61261"/>
                  </a:lnTo>
                  <a:lnTo>
                    <a:pt x="62693" y="61261"/>
                  </a:lnTo>
                  <a:lnTo>
                    <a:pt x="63000" y="60750"/>
                  </a:lnTo>
                  <a:lnTo>
                    <a:pt x="61977" y="60341"/>
                  </a:lnTo>
                  <a:lnTo>
                    <a:pt x="62284" y="60239"/>
                  </a:lnTo>
                  <a:lnTo>
                    <a:pt x="58602" y="59727"/>
                  </a:lnTo>
                  <a:close/>
                  <a:moveTo>
                    <a:pt x="208739" y="63614"/>
                  </a:moveTo>
                  <a:lnTo>
                    <a:pt x="208739" y="63614"/>
                  </a:lnTo>
                  <a:lnTo>
                    <a:pt x="208739" y="63614"/>
                  </a:lnTo>
                  <a:close/>
                  <a:moveTo>
                    <a:pt x="48989" y="64227"/>
                  </a:moveTo>
                  <a:lnTo>
                    <a:pt x="48989" y="64330"/>
                  </a:lnTo>
                  <a:lnTo>
                    <a:pt x="49091" y="64432"/>
                  </a:lnTo>
                  <a:lnTo>
                    <a:pt x="49091" y="64432"/>
                  </a:lnTo>
                  <a:lnTo>
                    <a:pt x="48989" y="64227"/>
                  </a:lnTo>
                  <a:close/>
                  <a:moveTo>
                    <a:pt x="44182" y="66375"/>
                  </a:moveTo>
                  <a:lnTo>
                    <a:pt x="44386" y="66477"/>
                  </a:lnTo>
                  <a:lnTo>
                    <a:pt x="44386" y="66477"/>
                  </a:lnTo>
                  <a:lnTo>
                    <a:pt x="44284" y="66375"/>
                  </a:lnTo>
                  <a:close/>
                  <a:moveTo>
                    <a:pt x="232261" y="60955"/>
                  </a:moveTo>
                  <a:lnTo>
                    <a:pt x="231955" y="61670"/>
                  </a:lnTo>
                  <a:lnTo>
                    <a:pt x="232159" y="63511"/>
                  </a:lnTo>
                  <a:lnTo>
                    <a:pt x="231648" y="63307"/>
                  </a:lnTo>
                  <a:lnTo>
                    <a:pt x="232364" y="64943"/>
                  </a:lnTo>
                  <a:lnTo>
                    <a:pt x="232568" y="64739"/>
                  </a:lnTo>
                  <a:lnTo>
                    <a:pt x="232977" y="65148"/>
                  </a:lnTo>
                  <a:lnTo>
                    <a:pt x="232773" y="65864"/>
                  </a:lnTo>
                  <a:lnTo>
                    <a:pt x="233591" y="65966"/>
                  </a:lnTo>
                  <a:lnTo>
                    <a:pt x="233795" y="65659"/>
                  </a:lnTo>
                  <a:lnTo>
                    <a:pt x="234716" y="66375"/>
                  </a:lnTo>
                  <a:lnTo>
                    <a:pt x="234409" y="65761"/>
                  </a:lnTo>
                  <a:lnTo>
                    <a:pt x="236045" y="67091"/>
                  </a:lnTo>
                  <a:lnTo>
                    <a:pt x="235432" y="65966"/>
                  </a:lnTo>
                  <a:lnTo>
                    <a:pt x="235739" y="65864"/>
                  </a:lnTo>
                  <a:lnTo>
                    <a:pt x="235125" y="65659"/>
                  </a:lnTo>
                  <a:lnTo>
                    <a:pt x="235125" y="65864"/>
                  </a:lnTo>
                  <a:lnTo>
                    <a:pt x="234511" y="65352"/>
                  </a:lnTo>
                  <a:lnTo>
                    <a:pt x="234205" y="65455"/>
                  </a:lnTo>
                  <a:lnTo>
                    <a:pt x="234307" y="65659"/>
                  </a:lnTo>
                  <a:lnTo>
                    <a:pt x="233284" y="64330"/>
                  </a:lnTo>
                  <a:lnTo>
                    <a:pt x="233489" y="63511"/>
                  </a:lnTo>
                  <a:lnTo>
                    <a:pt x="233795" y="63205"/>
                  </a:lnTo>
                  <a:lnTo>
                    <a:pt x="233591" y="61159"/>
                  </a:lnTo>
                  <a:lnTo>
                    <a:pt x="233284" y="61261"/>
                  </a:lnTo>
                  <a:lnTo>
                    <a:pt x="232261" y="60955"/>
                  </a:lnTo>
                  <a:close/>
                  <a:moveTo>
                    <a:pt x="236045" y="67091"/>
                  </a:moveTo>
                  <a:lnTo>
                    <a:pt x="236045" y="67091"/>
                  </a:lnTo>
                  <a:lnTo>
                    <a:pt x="236045" y="67091"/>
                  </a:lnTo>
                  <a:close/>
                  <a:moveTo>
                    <a:pt x="232670" y="66170"/>
                  </a:moveTo>
                  <a:lnTo>
                    <a:pt x="233693" y="67398"/>
                  </a:lnTo>
                  <a:lnTo>
                    <a:pt x="233693" y="66580"/>
                  </a:lnTo>
                  <a:lnTo>
                    <a:pt x="233080" y="66170"/>
                  </a:lnTo>
                  <a:close/>
                  <a:moveTo>
                    <a:pt x="222750" y="67705"/>
                  </a:moveTo>
                  <a:lnTo>
                    <a:pt x="222750" y="67705"/>
                  </a:lnTo>
                  <a:lnTo>
                    <a:pt x="222750" y="67705"/>
                  </a:lnTo>
                  <a:close/>
                  <a:moveTo>
                    <a:pt x="222750" y="67705"/>
                  </a:moveTo>
                  <a:lnTo>
                    <a:pt x="222737" y="67743"/>
                  </a:lnTo>
                  <a:lnTo>
                    <a:pt x="222750" y="67807"/>
                  </a:lnTo>
                  <a:lnTo>
                    <a:pt x="222750" y="67705"/>
                  </a:lnTo>
                  <a:close/>
                  <a:moveTo>
                    <a:pt x="235330" y="67091"/>
                  </a:moveTo>
                  <a:lnTo>
                    <a:pt x="235330" y="67807"/>
                  </a:lnTo>
                  <a:lnTo>
                    <a:pt x="235739" y="67602"/>
                  </a:lnTo>
                  <a:lnTo>
                    <a:pt x="236148" y="67909"/>
                  </a:lnTo>
                  <a:lnTo>
                    <a:pt x="235534" y="67193"/>
                  </a:lnTo>
                  <a:lnTo>
                    <a:pt x="235330" y="67091"/>
                  </a:lnTo>
                  <a:close/>
                  <a:moveTo>
                    <a:pt x="236250" y="67091"/>
                  </a:moveTo>
                  <a:lnTo>
                    <a:pt x="237068" y="68420"/>
                  </a:lnTo>
                  <a:lnTo>
                    <a:pt x="237682" y="68625"/>
                  </a:lnTo>
                  <a:lnTo>
                    <a:pt x="237784" y="68625"/>
                  </a:lnTo>
                  <a:lnTo>
                    <a:pt x="237170" y="67295"/>
                  </a:lnTo>
                  <a:lnTo>
                    <a:pt x="236250" y="67091"/>
                  </a:lnTo>
                  <a:close/>
                  <a:moveTo>
                    <a:pt x="234307" y="67807"/>
                  </a:moveTo>
                  <a:lnTo>
                    <a:pt x="234205" y="67909"/>
                  </a:lnTo>
                  <a:lnTo>
                    <a:pt x="234409" y="68011"/>
                  </a:lnTo>
                  <a:lnTo>
                    <a:pt x="234409" y="69341"/>
                  </a:lnTo>
                  <a:lnTo>
                    <a:pt x="235330" y="68420"/>
                  </a:lnTo>
                  <a:lnTo>
                    <a:pt x="234307" y="67807"/>
                  </a:lnTo>
                  <a:close/>
                  <a:moveTo>
                    <a:pt x="236455" y="68216"/>
                  </a:moveTo>
                  <a:lnTo>
                    <a:pt x="236557" y="68625"/>
                  </a:lnTo>
                  <a:lnTo>
                    <a:pt x="236864" y="68932"/>
                  </a:lnTo>
                  <a:lnTo>
                    <a:pt x="237170" y="69750"/>
                  </a:lnTo>
                  <a:lnTo>
                    <a:pt x="237170" y="69341"/>
                  </a:lnTo>
                  <a:lnTo>
                    <a:pt x="237273" y="69545"/>
                  </a:lnTo>
                  <a:lnTo>
                    <a:pt x="237273" y="69443"/>
                  </a:lnTo>
                  <a:lnTo>
                    <a:pt x="237273" y="69136"/>
                  </a:lnTo>
                  <a:lnTo>
                    <a:pt x="237170" y="68932"/>
                  </a:lnTo>
                  <a:lnTo>
                    <a:pt x="236966" y="68318"/>
                  </a:lnTo>
                  <a:lnTo>
                    <a:pt x="236761" y="68420"/>
                  </a:lnTo>
                  <a:lnTo>
                    <a:pt x="236455" y="68216"/>
                  </a:lnTo>
                  <a:close/>
                  <a:moveTo>
                    <a:pt x="193091" y="69852"/>
                  </a:moveTo>
                  <a:lnTo>
                    <a:pt x="193295" y="70261"/>
                  </a:lnTo>
                  <a:lnTo>
                    <a:pt x="193160" y="69965"/>
                  </a:lnTo>
                  <a:lnTo>
                    <a:pt x="193091" y="69852"/>
                  </a:lnTo>
                  <a:close/>
                  <a:moveTo>
                    <a:pt x="235636" y="68830"/>
                  </a:moveTo>
                  <a:lnTo>
                    <a:pt x="235227" y="69034"/>
                  </a:lnTo>
                  <a:lnTo>
                    <a:pt x="235125" y="69239"/>
                  </a:lnTo>
                  <a:lnTo>
                    <a:pt x="235227" y="69648"/>
                  </a:lnTo>
                  <a:lnTo>
                    <a:pt x="234818" y="69955"/>
                  </a:lnTo>
                  <a:lnTo>
                    <a:pt x="235636" y="70670"/>
                  </a:lnTo>
                  <a:lnTo>
                    <a:pt x="235636" y="68830"/>
                  </a:lnTo>
                  <a:close/>
                  <a:moveTo>
                    <a:pt x="232057" y="68420"/>
                  </a:moveTo>
                  <a:lnTo>
                    <a:pt x="230318" y="71284"/>
                  </a:lnTo>
                  <a:lnTo>
                    <a:pt x="230318" y="71386"/>
                  </a:lnTo>
                  <a:lnTo>
                    <a:pt x="232261" y="69341"/>
                  </a:lnTo>
                  <a:lnTo>
                    <a:pt x="232057" y="68420"/>
                  </a:lnTo>
                  <a:close/>
                  <a:moveTo>
                    <a:pt x="196568" y="70159"/>
                  </a:moveTo>
                  <a:lnTo>
                    <a:pt x="196364" y="71795"/>
                  </a:lnTo>
                  <a:lnTo>
                    <a:pt x="196364" y="72000"/>
                  </a:lnTo>
                  <a:lnTo>
                    <a:pt x="197591" y="73739"/>
                  </a:lnTo>
                  <a:lnTo>
                    <a:pt x="198102" y="72102"/>
                  </a:lnTo>
                  <a:lnTo>
                    <a:pt x="196875" y="70261"/>
                  </a:lnTo>
                  <a:lnTo>
                    <a:pt x="196568" y="70159"/>
                  </a:lnTo>
                  <a:close/>
                  <a:moveTo>
                    <a:pt x="237580" y="70261"/>
                  </a:moveTo>
                  <a:lnTo>
                    <a:pt x="237580" y="70773"/>
                  </a:lnTo>
                  <a:lnTo>
                    <a:pt x="237068" y="70977"/>
                  </a:lnTo>
                  <a:lnTo>
                    <a:pt x="237068" y="71182"/>
                  </a:lnTo>
                  <a:lnTo>
                    <a:pt x="236761" y="71182"/>
                  </a:lnTo>
                  <a:lnTo>
                    <a:pt x="236659" y="71591"/>
                  </a:lnTo>
                  <a:lnTo>
                    <a:pt x="236250" y="71795"/>
                  </a:lnTo>
                  <a:lnTo>
                    <a:pt x="236148" y="71182"/>
                  </a:lnTo>
                  <a:lnTo>
                    <a:pt x="235739" y="71284"/>
                  </a:lnTo>
                  <a:lnTo>
                    <a:pt x="235432" y="71693"/>
                  </a:lnTo>
                  <a:lnTo>
                    <a:pt x="234818" y="71898"/>
                  </a:lnTo>
                  <a:lnTo>
                    <a:pt x="234818" y="72818"/>
                  </a:lnTo>
                  <a:lnTo>
                    <a:pt x="235227" y="72000"/>
                  </a:lnTo>
                  <a:lnTo>
                    <a:pt x="235636" y="72102"/>
                  </a:lnTo>
                  <a:lnTo>
                    <a:pt x="235943" y="72409"/>
                  </a:lnTo>
                  <a:lnTo>
                    <a:pt x="236045" y="72000"/>
                  </a:lnTo>
                  <a:lnTo>
                    <a:pt x="236455" y="72205"/>
                  </a:lnTo>
                  <a:lnTo>
                    <a:pt x="236557" y="73125"/>
                  </a:lnTo>
                  <a:lnTo>
                    <a:pt x="237580" y="73943"/>
                  </a:lnTo>
                  <a:lnTo>
                    <a:pt x="237682" y="73841"/>
                  </a:lnTo>
                  <a:lnTo>
                    <a:pt x="237682" y="74045"/>
                  </a:lnTo>
                  <a:lnTo>
                    <a:pt x="238091" y="73841"/>
                  </a:lnTo>
                  <a:lnTo>
                    <a:pt x="237784" y="73227"/>
                  </a:lnTo>
                  <a:lnTo>
                    <a:pt x="237989" y="72614"/>
                  </a:lnTo>
                  <a:lnTo>
                    <a:pt x="238295" y="72818"/>
                  </a:lnTo>
                  <a:lnTo>
                    <a:pt x="238500" y="73534"/>
                  </a:lnTo>
                  <a:lnTo>
                    <a:pt x="238500" y="73023"/>
                  </a:lnTo>
                  <a:lnTo>
                    <a:pt x="238807" y="72614"/>
                  </a:lnTo>
                  <a:lnTo>
                    <a:pt x="238500" y="71284"/>
                  </a:lnTo>
                  <a:lnTo>
                    <a:pt x="238398" y="71182"/>
                  </a:lnTo>
                  <a:lnTo>
                    <a:pt x="238500" y="70977"/>
                  </a:lnTo>
                  <a:lnTo>
                    <a:pt x="238295" y="70466"/>
                  </a:lnTo>
                  <a:lnTo>
                    <a:pt x="237580" y="70261"/>
                  </a:lnTo>
                  <a:close/>
                  <a:moveTo>
                    <a:pt x="240443" y="77727"/>
                  </a:moveTo>
                  <a:lnTo>
                    <a:pt x="240034" y="78545"/>
                  </a:lnTo>
                  <a:lnTo>
                    <a:pt x="240136" y="80284"/>
                  </a:lnTo>
                  <a:lnTo>
                    <a:pt x="240852" y="81000"/>
                  </a:lnTo>
                  <a:lnTo>
                    <a:pt x="240341" y="79568"/>
                  </a:lnTo>
                  <a:lnTo>
                    <a:pt x="241261" y="79773"/>
                  </a:lnTo>
                  <a:lnTo>
                    <a:pt x="240750" y="79057"/>
                  </a:lnTo>
                  <a:lnTo>
                    <a:pt x="241057" y="78852"/>
                  </a:lnTo>
                  <a:lnTo>
                    <a:pt x="241057" y="78545"/>
                  </a:lnTo>
                  <a:lnTo>
                    <a:pt x="240136" y="78955"/>
                  </a:lnTo>
                  <a:lnTo>
                    <a:pt x="240443" y="78648"/>
                  </a:lnTo>
                  <a:lnTo>
                    <a:pt x="240443" y="78341"/>
                  </a:lnTo>
                  <a:lnTo>
                    <a:pt x="240341" y="78136"/>
                  </a:lnTo>
                  <a:lnTo>
                    <a:pt x="240443" y="77727"/>
                  </a:lnTo>
                  <a:close/>
                  <a:moveTo>
                    <a:pt x="79875" y="80284"/>
                  </a:moveTo>
                  <a:lnTo>
                    <a:pt x="78136" y="80591"/>
                  </a:lnTo>
                  <a:lnTo>
                    <a:pt x="78136" y="81511"/>
                  </a:lnTo>
                  <a:lnTo>
                    <a:pt x="78443" y="81818"/>
                  </a:lnTo>
                  <a:lnTo>
                    <a:pt x="79466" y="81511"/>
                  </a:lnTo>
                  <a:lnTo>
                    <a:pt x="80080" y="80693"/>
                  </a:lnTo>
                  <a:lnTo>
                    <a:pt x="79875" y="80284"/>
                  </a:lnTo>
                  <a:close/>
                  <a:moveTo>
                    <a:pt x="261102" y="82636"/>
                  </a:moveTo>
                  <a:lnTo>
                    <a:pt x="261000" y="82841"/>
                  </a:lnTo>
                  <a:lnTo>
                    <a:pt x="261205" y="82943"/>
                  </a:lnTo>
                  <a:lnTo>
                    <a:pt x="261307" y="82943"/>
                  </a:lnTo>
                  <a:lnTo>
                    <a:pt x="261102" y="82636"/>
                  </a:lnTo>
                  <a:close/>
                  <a:moveTo>
                    <a:pt x="220500" y="81818"/>
                  </a:moveTo>
                  <a:lnTo>
                    <a:pt x="219784" y="81920"/>
                  </a:lnTo>
                  <a:lnTo>
                    <a:pt x="219886" y="82227"/>
                  </a:lnTo>
                  <a:lnTo>
                    <a:pt x="220295" y="82534"/>
                  </a:lnTo>
                  <a:lnTo>
                    <a:pt x="220295" y="82841"/>
                  </a:lnTo>
                  <a:lnTo>
                    <a:pt x="221011" y="83148"/>
                  </a:lnTo>
                  <a:lnTo>
                    <a:pt x="221114" y="82636"/>
                  </a:lnTo>
                  <a:lnTo>
                    <a:pt x="220500" y="81818"/>
                  </a:lnTo>
                  <a:close/>
                  <a:moveTo>
                    <a:pt x="222034" y="82636"/>
                  </a:moveTo>
                  <a:lnTo>
                    <a:pt x="221830" y="83045"/>
                  </a:lnTo>
                  <a:lnTo>
                    <a:pt x="221830" y="83352"/>
                  </a:lnTo>
                  <a:lnTo>
                    <a:pt x="222341" y="83148"/>
                  </a:lnTo>
                  <a:lnTo>
                    <a:pt x="222034" y="82636"/>
                  </a:lnTo>
                  <a:close/>
                  <a:moveTo>
                    <a:pt x="240443" y="83352"/>
                  </a:moveTo>
                  <a:lnTo>
                    <a:pt x="240239" y="83659"/>
                  </a:lnTo>
                  <a:lnTo>
                    <a:pt x="240239" y="83659"/>
                  </a:lnTo>
                  <a:lnTo>
                    <a:pt x="240545" y="83352"/>
                  </a:lnTo>
                  <a:close/>
                  <a:moveTo>
                    <a:pt x="240852" y="82943"/>
                  </a:moveTo>
                  <a:lnTo>
                    <a:pt x="240545" y="83352"/>
                  </a:lnTo>
                  <a:lnTo>
                    <a:pt x="240750" y="83557"/>
                  </a:lnTo>
                  <a:lnTo>
                    <a:pt x="241261" y="83455"/>
                  </a:lnTo>
                  <a:lnTo>
                    <a:pt x="241670" y="83557"/>
                  </a:lnTo>
                  <a:lnTo>
                    <a:pt x="241977" y="83455"/>
                  </a:lnTo>
                  <a:lnTo>
                    <a:pt x="242898" y="83966"/>
                  </a:lnTo>
                  <a:lnTo>
                    <a:pt x="241568" y="82943"/>
                  </a:lnTo>
                  <a:close/>
                  <a:moveTo>
                    <a:pt x="230011" y="72818"/>
                  </a:moveTo>
                  <a:lnTo>
                    <a:pt x="228989" y="74250"/>
                  </a:lnTo>
                  <a:lnTo>
                    <a:pt x="228989" y="74761"/>
                  </a:lnTo>
                  <a:lnTo>
                    <a:pt x="228477" y="74966"/>
                  </a:lnTo>
                  <a:lnTo>
                    <a:pt x="228477" y="74864"/>
                  </a:lnTo>
                  <a:lnTo>
                    <a:pt x="227557" y="75375"/>
                  </a:lnTo>
                  <a:lnTo>
                    <a:pt x="227045" y="76398"/>
                  </a:lnTo>
                  <a:lnTo>
                    <a:pt x="225409" y="77216"/>
                  </a:lnTo>
                  <a:lnTo>
                    <a:pt x="225307" y="77420"/>
                  </a:lnTo>
                  <a:lnTo>
                    <a:pt x="225205" y="77523"/>
                  </a:lnTo>
                  <a:lnTo>
                    <a:pt x="225205" y="78648"/>
                  </a:lnTo>
                  <a:lnTo>
                    <a:pt x="223670" y="77932"/>
                  </a:lnTo>
                  <a:lnTo>
                    <a:pt x="223159" y="78750"/>
                  </a:lnTo>
                  <a:lnTo>
                    <a:pt x="223261" y="78750"/>
                  </a:lnTo>
                  <a:lnTo>
                    <a:pt x="224182" y="83045"/>
                  </a:lnTo>
                  <a:lnTo>
                    <a:pt x="225511" y="83045"/>
                  </a:lnTo>
                  <a:lnTo>
                    <a:pt x="225818" y="83659"/>
                  </a:lnTo>
                  <a:lnTo>
                    <a:pt x="226023" y="83455"/>
                  </a:lnTo>
                  <a:lnTo>
                    <a:pt x="226330" y="83557"/>
                  </a:lnTo>
                  <a:lnTo>
                    <a:pt x="226739" y="83045"/>
                  </a:lnTo>
                  <a:lnTo>
                    <a:pt x="227352" y="83557"/>
                  </a:lnTo>
                  <a:lnTo>
                    <a:pt x="227966" y="83352"/>
                  </a:lnTo>
                  <a:lnTo>
                    <a:pt x="228068" y="83557"/>
                  </a:lnTo>
                  <a:lnTo>
                    <a:pt x="228375" y="84273"/>
                  </a:lnTo>
                  <a:lnTo>
                    <a:pt x="229398" y="83659"/>
                  </a:lnTo>
                  <a:lnTo>
                    <a:pt x="229705" y="83250"/>
                  </a:lnTo>
                  <a:lnTo>
                    <a:pt x="229602" y="83045"/>
                  </a:lnTo>
                  <a:lnTo>
                    <a:pt x="229807" y="82739"/>
                  </a:lnTo>
                  <a:lnTo>
                    <a:pt x="229705" y="81920"/>
                  </a:lnTo>
                  <a:lnTo>
                    <a:pt x="230216" y="81102"/>
                  </a:lnTo>
                  <a:lnTo>
                    <a:pt x="230523" y="81102"/>
                  </a:lnTo>
                  <a:lnTo>
                    <a:pt x="231239" y="78955"/>
                  </a:lnTo>
                  <a:lnTo>
                    <a:pt x="231852" y="79159"/>
                  </a:lnTo>
                  <a:lnTo>
                    <a:pt x="232159" y="79159"/>
                  </a:lnTo>
                  <a:lnTo>
                    <a:pt x="232057" y="78955"/>
                  </a:lnTo>
                  <a:lnTo>
                    <a:pt x="231136" y="77932"/>
                  </a:lnTo>
                  <a:lnTo>
                    <a:pt x="231034" y="77114"/>
                  </a:lnTo>
                  <a:lnTo>
                    <a:pt x="230932" y="77011"/>
                  </a:lnTo>
                  <a:lnTo>
                    <a:pt x="230420" y="76295"/>
                  </a:lnTo>
                  <a:lnTo>
                    <a:pt x="230830" y="76193"/>
                  </a:lnTo>
                  <a:lnTo>
                    <a:pt x="230932" y="76091"/>
                  </a:lnTo>
                  <a:lnTo>
                    <a:pt x="230932" y="75580"/>
                  </a:lnTo>
                  <a:lnTo>
                    <a:pt x="231750" y="75580"/>
                  </a:lnTo>
                  <a:lnTo>
                    <a:pt x="231443" y="74864"/>
                  </a:lnTo>
                  <a:lnTo>
                    <a:pt x="232261" y="74761"/>
                  </a:lnTo>
                  <a:lnTo>
                    <a:pt x="231136" y="73841"/>
                  </a:lnTo>
                  <a:lnTo>
                    <a:pt x="230727" y="73943"/>
                  </a:lnTo>
                  <a:lnTo>
                    <a:pt x="230420" y="72920"/>
                  </a:lnTo>
                  <a:lnTo>
                    <a:pt x="230011" y="73227"/>
                  </a:lnTo>
                  <a:lnTo>
                    <a:pt x="230011" y="72818"/>
                  </a:lnTo>
                  <a:close/>
                  <a:moveTo>
                    <a:pt x="261307" y="82943"/>
                  </a:moveTo>
                  <a:lnTo>
                    <a:pt x="262841" y="84989"/>
                  </a:lnTo>
                  <a:lnTo>
                    <a:pt x="262330" y="83761"/>
                  </a:lnTo>
                  <a:lnTo>
                    <a:pt x="261307" y="82943"/>
                  </a:lnTo>
                  <a:close/>
                  <a:moveTo>
                    <a:pt x="237682" y="78239"/>
                  </a:moveTo>
                  <a:lnTo>
                    <a:pt x="237170" y="78852"/>
                  </a:lnTo>
                  <a:lnTo>
                    <a:pt x="234614" y="78955"/>
                  </a:lnTo>
                  <a:lnTo>
                    <a:pt x="234409" y="78750"/>
                  </a:lnTo>
                  <a:lnTo>
                    <a:pt x="233489" y="79057"/>
                  </a:lnTo>
                  <a:lnTo>
                    <a:pt x="232977" y="79875"/>
                  </a:lnTo>
                  <a:lnTo>
                    <a:pt x="232977" y="80080"/>
                  </a:lnTo>
                  <a:lnTo>
                    <a:pt x="232875" y="80182"/>
                  </a:lnTo>
                  <a:lnTo>
                    <a:pt x="232977" y="80898"/>
                  </a:lnTo>
                  <a:lnTo>
                    <a:pt x="232875" y="80693"/>
                  </a:lnTo>
                  <a:lnTo>
                    <a:pt x="232057" y="83455"/>
                  </a:lnTo>
                  <a:lnTo>
                    <a:pt x="232364" y="83659"/>
                  </a:lnTo>
                  <a:lnTo>
                    <a:pt x="232568" y="83864"/>
                  </a:lnTo>
                  <a:lnTo>
                    <a:pt x="232670" y="85909"/>
                  </a:lnTo>
                  <a:lnTo>
                    <a:pt x="233386" y="85807"/>
                  </a:lnTo>
                  <a:lnTo>
                    <a:pt x="233591" y="82841"/>
                  </a:lnTo>
                  <a:lnTo>
                    <a:pt x="234409" y="84784"/>
                  </a:lnTo>
                  <a:lnTo>
                    <a:pt x="235636" y="84375"/>
                  </a:lnTo>
                  <a:lnTo>
                    <a:pt x="235125" y="83761"/>
                  </a:lnTo>
                  <a:lnTo>
                    <a:pt x="235227" y="83148"/>
                  </a:lnTo>
                  <a:lnTo>
                    <a:pt x="234409" y="82023"/>
                  </a:lnTo>
                  <a:lnTo>
                    <a:pt x="234614" y="82023"/>
                  </a:lnTo>
                  <a:lnTo>
                    <a:pt x="235739" y="81000"/>
                  </a:lnTo>
                  <a:lnTo>
                    <a:pt x="236148" y="81102"/>
                  </a:lnTo>
                  <a:lnTo>
                    <a:pt x="235739" y="80693"/>
                  </a:lnTo>
                  <a:lnTo>
                    <a:pt x="235739" y="80795"/>
                  </a:lnTo>
                  <a:lnTo>
                    <a:pt x="233591" y="81205"/>
                  </a:lnTo>
                  <a:lnTo>
                    <a:pt x="233284" y="80693"/>
                  </a:lnTo>
                  <a:lnTo>
                    <a:pt x="233182" y="80182"/>
                  </a:lnTo>
                  <a:lnTo>
                    <a:pt x="235943" y="79568"/>
                  </a:lnTo>
                  <a:lnTo>
                    <a:pt x="236455" y="79773"/>
                  </a:lnTo>
                  <a:lnTo>
                    <a:pt x="236966" y="79670"/>
                  </a:lnTo>
                  <a:lnTo>
                    <a:pt x="237580" y="79057"/>
                  </a:lnTo>
                  <a:lnTo>
                    <a:pt x="237682" y="78239"/>
                  </a:lnTo>
                  <a:close/>
                  <a:moveTo>
                    <a:pt x="210580" y="74659"/>
                  </a:moveTo>
                  <a:lnTo>
                    <a:pt x="219068" y="86114"/>
                  </a:lnTo>
                  <a:lnTo>
                    <a:pt x="219068" y="85705"/>
                  </a:lnTo>
                  <a:lnTo>
                    <a:pt x="219989" y="86011"/>
                  </a:lnTo>
                  <a:lnTo>
                    <a:pt x="220398" y="83250"/>
                  </a:lnTo>
                  <a:lnTo>
                    <a:pt x="219273" y="82636"/>
                  </a:lnTo>
                  <a:lnTo>
                    <a:pt x="218966" y="81102"/>
                  </a:lnTo>
                  <a:lnTo>
                    <a:pt x="218352" y="80898"/>
                  </a:lnTo>
                  <a:lnTo>
                    <a:pt x="218148" y="80489"/>
                  </a:lnTo>
                  <a:lnTo>
                    <a:pt x="218455" y="79977"/>
                  </a:lnTo>
                  <a:lnTo>
                    <a:pt x="218045" y="79466"/>
                  </a:lnTo>
                  <a:lnTo>
                    <a:pt x="217330" y="79773"/>
                  </a:lnTo>
                  <a:lnTo>
                    <a:pt x="217739" y="79568"/>
                  </a:lnTo>
                  <a:lnTo>
                    <a:pt x="216102" y="77830"/>
                  </a:lnTo>
                  <a:lnTo>
                    <a:pt x="215795" y="78034"/>
                  </a:lnTo>
                  <a:lnTo>
                    <a:pt x="212625" y="74659"/>
                  </a:lnTo>
                  <a:close/>
                  <a:moveTo>
                    <a:pt x="246170" y="85602"/>
                  </a:moveTo>
                  <a:lnTo>
                    <a:pt x="245864" y="85909"/>
                  </a:lnTo>
                  <a:lnTo>
                    <a:pt x="245761" y="86216"/>
                  </a:lnTo>
                  <a:lnTo>
                    <a:pt x="246273" y="86523"/>
                  </a:lnTo>
                  <a:lnTo>
                    <a:pt x="246375" y="86011"/>
                  </a:lnTo>
                  <a:lnTo>
                    <a:pt x="246170" y="85602"/>
                  </a:lnTo>
                  <a:close/>
                  <a:moveTo>
                    <a:pt x="261818" y="84375"/>
                  </a:moveTo>
                  <a:lnTo>
                    <a:pt x="261716" y="84886"/>
                  </a:lnTo>
                  <a:lnTo>
                    <a:pt x="260693" y="85705"/>
                  </a:lnTo>
                  <a:lnTo>
                    <a:pt x="260386" y="85705"/>
                  </a:lnTo>
                  <a:lnTo>
                    <a:pt x="260284" y="85193"/>
                  </a:lnTo>
                  <a:lnTo>
                    <a:pt x="260080" y="85705"/>
                  </a:lnTo>
                  <a:lnTo>
                    <a:pt x="258648" y="85909"/>
                  </a:lnTo>
                  <a:lnTo>
                    <a:pt x="259773" y="86523"/>
                  </a:lnTo>
                  <a:lnTo>
                    <a:pt x="262125" y="85500"/>
                  </a:lnTo>
                  <a:lnTo>
                    <a:pt x="262023" y="85295"/>
                  </a:lnTo>
                  <a:lnTo>
                    <a:pt x="262227" y="85193"/>
                  </a:lnTo>
                  <a:lnTo>
                    <a:pt x="262432" y="84477"/>
                  </a:lnTo>
                  <a:lnTo>
                    <a:pt x="261818" y="84375"/>
                  </a:lnTo>
                  <a:close/>
                  <a:moveTo>
                    <a:pt x="249239" y="87852"/>
                  </a:moveTo>
                  <a:lnTo>
                    <a:pt x="248727" y="88670"/>
                  </a:lnTo>
                  <a:lnTo>
                    <a:pt x="249648" y="88466"/>
                  </a:lnTo>
                  <a:lnTo>
                    <a:pt x="249239" y="87852"/>
                  </a:lnTo>
                  <a:close/>
                  <a:moveTo>
                    <a:pt x="220500" y="86216"/>
                  </a:moveTo>
                  <a:lnTo>
                    <a:pt x="219682" y="86932"/>
                  </a:lnTo>
                  <a:lnTo>
                    <a:pt x="219784" y="87136"/>
                  </a:lnTo>
                  <a:lnTo>
                    <a:pt x="227250" y="88875"/>
                  </a:lnTo>
                  <a:lnTo>
                    <a:pt x="227761" y="88977"/>
                  </a:lnTo>
                  <a:lnTo>
                    <a:pt x="227761" y="88057"/>
                  </a:lnTo>
                  <a:lnTo>
                    <a:pt x="226330" y="87648"/>
                  </a:lnTo>
                  <a:lnTo>
                    <a:pt x="226125" y="87136"/>
                  </a:lnTo>
                  <a:lnTo>
                    <a:pt x="224591" y="86727"/>
                  </a:lnTo>
                  <a:lnTo>
                    <a:pt x="224284" y="87136"/>
                  </a:lnTo>
                  <a:lnTo>
                    <a:pt x="222648" y="87034"/>
                  </a:lnTo>
                  <a:lnTo>
                    <a:pt x="222239" y="86523"/>
                  </a:lnTo>
                  <a:lnTo>
                    <a:pt x="220500" y="86216"/>
                  </a:lnTo>
                  <a:close/>
                  <a:moveTo>
                    <a:pt x="227761" y="88364"/>
                  </a:moveTo>
                  <a:lnTo>
                    <a:pt x="228273" y="89080"/>
                  </a:lnTo>
                  <a:lnTo>
                    <a:pt x="228886" y="88670"/>
                  </a:lnTo>
                  <a:lnTo>
                    <a:pt x="228375" y="88364"/>
                  </a:lnTo>
                  <a:close/>
                  <a:moveTo>
                    <a:pt x="229398" y="88568"/>
                  </a:moveTo>
                  <a:lnTo>
                    <a:pt x="228989" y="88977"/>
                  </a:lnTo>
                  <a:lnTo>
                    <a:pt x="229705" y="89182"/>
                  </a:lnTo>
                  <a:lnTo>
                    <a:pt x="229807" y="88670"/>
                  </a:lnTo>
                  <a:lnTo>
                    <a:pt x="229398" y="88568"/>
                  </a:lnTo>
                  <a:close/>
                  <a:moveTo>
                    <a:pt x="235432" y="88466"/>
                  </a:moveTo>
                  <a:lnTo>
                    <a:pt x="234920" y="88875"/>
                  </a:lnTo>
                  <a:lnTo>
                    <a:pt x="233182" y="88568"/>
                  </a:lnTo>
                  <a:lnTo>
                    <a:pt x="232670" y="88670"/>
                  </a:lnTo>
                  <a:lnTo>
                    <a:pt x="232670" y="89182"/>
                  </a:lnTo>
                  <a:lnTo>
                    <a:pt x="234716" y="88977"/>
                  </a:lnTo>
                  <a:lnTo>
                    <a:pt x="235330" y="88773"/>
                  </a:lnTo>
                  <a:lnTo>
                    <a:pt x="235534" y="88466"/>
                  </a:lnTo>
                  <a:close/>
                  <a:moveTo>
                    <a:pt x="230932" y="88364"/>
                  </a:moveTo>
                  <a:lnTo>
                    <a:pt x="230727" y="88568"/>
                  </a:lnTo>
                  <a:lnTo>
                    <a:pt x="231034" y="88977"/>
                  </a:lnTo>
                  <a:lnTo>
                    <a:pt x="231034" y="88977"/>
                  </a:lnTo>
                  <a:lnTo>
                    <a:pt x="230420" y="88670"/>
                  </a:lnTo>
                  <a:lnTo>
                    <a:pt x="230011" y="89386"/>
                  </a:lnTo>
                  <a:lnTo>
                    <a:pt x="231341" y="88977"/>
                  </a:lnTo>
                  <a:lnTo>
                    <a:pt x="231750" y="89080"/>
                  </a:lnTo>
                  <a:lnTo>
                    <a:pt x="231648" y="88977"/>
                  </a:lnTo>
                  <a:lnTo>
                    <a:pt x="231750" y="88977"/>
                  </a:lnTo>
                  <a:lnTo>
                    <a:pt x="231648" y="88670"/>
                  </a:lnTo>
                  <a:lnTo>
                    <a:pt x="231239" y="88568"/>
                  </a:lnTo>
                  <a:lnTo>
                    <a:pt x="230932" y="88364"/>
                  </a:lnTo>
                  <a:close/>
                  <a:moveTo>
                    <a:pt x="232670" y="89591"/>
                  </a:moveTo>
                  <a:lnTo>
                    <a:pt x="231750" y="89898"/>
                  </a:lnTo>
                  <a:lnTo>
                    <a:pt x="232670" y="90409"/>
                  </a:lnTo>
                  <a:lnTo>
                    <a:pt x="233284" y="90205"/>
                  </a:lnTo>
                  <a:lnTo>
                    <a:pt x="232670" y="89591"/>
                  </a:lnTo>
                  <a:close/>
                  <a:moveTo>
                    <a:pt x="239420" y="88670"/>
                  </a:moveTo>
                  <a:lnTo>
                    <a:pt x="237989" y="88773"/>
                  </a:lnTo>
                  <a:lnTo>
                    <a:pt x="235943" y="90102"/>
                  </a:lnTo>
                  <a:lnTo>
                    <a:pt x="235943" y="90511"/>
                  </a:lnTo>
                  <a:lnTo>
                    <a:pt x="237068" y="90102"/>
                  </a:lnTo>
                  <a:lnTo>
                    <a:pt x="239420" y="88670"/>
                  </a:lnTo>
                  <a:close/>
                  <a:moveTo>
                    <a:pt x="244636" y="80386"/>
                  </a:moveTo>
                  <a:lnTo>
                    <a:pt x="243205" y="81409"/>
                  </a:lnTo>
                  <a:lnTo>
                    <a:pt x="243920" y="81614"/>
                  </a:lnTo>
                  <a:lnTo>
                    <a:pt x="244125" y="82125"/>
                  </a:lnTo>
                  <a:lnTo>
                    <a:pt x="244432" y="82330"/>
                  </a:lnTo>
                  <a:lnTo>
                    <a:pt x="245761" y="82227"/>
                  </a:lnTo>
                  <a:lnTo>
                    <a:pt x="245557" y="82739"/>
                  </a:lnTo>
                  <a:lnTo>
                    <a:pt x="244023" y="82943"/>
                  </a:lnTo>
                  <a:lnTo>
                    <a:pt x="244534" y="83250"/>
                  </a:lnTo>
                  <a:lnTo>
                    <a:pt x="244739" y="84068"/>
                  </a:lnTo>
                  <a:lnTo>
                    <a:pt x="245659" y="83148"/>
                  </a:lnTo>
                  <a:lnTo>
                    <a:pt x="245761" y="83966"/>
                  </a:lnTo>
                  <a:lnTo>
                    <a:pt x="246580" y="84068"/>
                  </a:lnTo>
                  <a:lnTo>
                    <a:pt x="246784" y="84580"/>
                  </a:lnTo>
                  <a:lnTo>
                    <a:pt x="249648" y="85909"/>
                  </a:lnTo>
                  <a:lnTo>
                    <a:pt x="249443" y="86011"/>
                  </a:lnTo>
                  <a:lnTo>
                    <a:pt x="249648" y="86011"/>
                  </a:lnTo>
                  <a:lnTo>
                    <a:pt x="250261" y="87443"/>
                  </a:lnTo>
                  <a:lnTo>
                    <a:pt x="249852" y="87545"/>
                  </a:lnTo>
                  <a:lnTo>
                    <a:pt x="250057" y="88057"/>
                  </a:lnTo>
                  <a:lnTo>
                    <a:pt x="249852" y="88466"/>
                  </a:lnTo>
                  <a:lnTo>
                    <a:pt x="251080" y="88159"/>
                  </a:lnTo>
                  <a:lnTo>
                    <a:pt x="251080" y="88670"/>
                  </a:lnTo>
                  <a:lnTo>
                    <a:pt x="251693" y="89386"/>
                  </a:lnTo>
                  <a:lnTo>
                    <a:pt x="253534" y="89386"/>
                  </a:lnTo>
                  <a:lnTo>
                    <a:pt x="253841" y="88977"/>
                  </a:lnTo>
                  <a:lnTo>
                    <a:pt x="252920" y="88466"/>
                  </a:lnTo>
                  <a:lnTo>
                    <a:pt x="254455" y="88261"/>
                  </a:lnTo>
                  <a:lnTo>
                    <a:pt x="254455" y="88159"/>
                  </a:lnTo>
                  <a:lnTo>
                    <a:pt x="254557" y="88159"/>
                  </a:lnTo>
                  <a:lnTo>
                    <a:pt x="254250" y="87750"/>
                  </a:lnTo>
                  <a:lnTo>
                    <a:pt x="254864" y="87955"/>
                  </a:lnTo>
                  <a:lnTo>
                    <a:pt x="255375" y="87852"/>
                  </a:lnTo>
                  <a:lnTo>
                    <a:pt x="257625" y="90307"/>
                  </a:lnTo>
                  <a:lnTo>
                    <a:pt x="260080" y="91023"/>
                  </a:lnTo>
                  <a:lnTo>
                    <a:pt x="260080" y="90716"/>
                  </a:lnTo>
                  <a:lnTo>
                    <a:pt x="260489" y="90614"/>
                  </a:lnTo>
                  <a:lnTo>
                    <a:pt x="259670" y="90307"/>
                  </a:lnTo>
                  <a:lnTo>
                    <a:pt x="259670" y="90102"/>
                  </a:lnTo>
                  <a:lnTo>
                    <a:pt x="259159" y="89386"/>
                  </a:lnTo>
                  <a:lnTo>
                    <a:pt x="258648" y="89386"/>
                  </a:lnTo>
                  <a:lnTo>
                    <a:pt x="257318" y="87034"/>
                  </a:lnTo>
                  <a:lnTo>
                    <a:pt x="258136" y="86932"/>
                  </a:lnTo>
                  <a:lnTo>
                    <a:pt x="256500" y="85705"/>
                  </a:lnTo>
                  <a:lnTo>
                    <a:pt x="256398" y="84989"/>
                  </a:lnTo>
                  <a:lnTo>
                    <a:pt x="251898" y="82636"/>
                  </a:lnTo>
                  <a:lnTo>
                    <a:pt x="249545" y="81716"/>
                  </a:lnTo>
                  <a:lnTo>
                    <a:pt x="248727" y="81920"/>
                  </a:lnTo>
                  <a:lnTo>
                    <a:pt x="248727" y="82125"/>
                  </a:lnTo>
                  <a:lnTo>
                    <a:pt x="246989" y="83455"/>
                  </a:lnTo>
                  <a:lnTo>
                    <a:pt x="246375" y="82636"/>
                  </a:lnTo>
                  <a:lnTo>
                    <a:pt x="246273" y="82943"/>
                  </a:lnTo>
                  <a:lnTo>
                    <a:pt x="245864" y="80795"/>
                  </a:lnTo>
                  <a:lnTo>
                    <a:pt x="244636" y="80386"/>
                  </a:lnTo>
                  <a:close/>
                  <a:moveTo>
                    <a:pt x="242693" y="91534"/>
                  </a:moveTo>
                  <a:lnTo>
                    <a:pt x="241977" y="91636"/>
                  </a:lnTo>
                  <a:lnTo>
                    <a:pt x="241977" y="91841"/>
                  </a:lnTo>
                  <a:lnTo>
                    <a:pt x="242386" y="92352"/>
                  </a:lnTo>
                  <a:lnTo>
                    <a:pt x="242693" y="91534"/>
                  </a:lnTo>
                  <a:close/>
                  <a:moveTo>
                    <a:pt x="285750" y="96648"/>
                  </a:moveTo>
                  <a:lnTo>
                    <a:pt x="285545" y="96750"/>
                  </a:lnTo>
                  <a:lnTo>
                    <a:pt x="284420" y="97159"/>
                  </a:lnTo>
                  <a:lnTo>
                    <a:pt x="284216" y="97261"/>
                  </a:lnTo>
                  <a:lnTo>
                    <a:pt x="285239" y="97261"/>
                  </a:lnTo>
                  <a:lnTo>
                    <a:pt x="285750" y="96648"/>
                  </a:lnTo>
                  <a:close/>
                  <a:moveTo>
                    <a:pt x="285648" y="97057"/>
                  </a:moveTo>
                  <a:lnTo>
                    <a:pt x="285239" y="97261"/>
                  </a:lnTo>
                  <a:lnTo>
                    <a:pt x="285545" y="97261"/>
                  </a:lnTo>
                  <a:lnTo>
                    <a:pt x="285648" y="97057"/>
                  </a:lnTo>
                  <a:close/>
                  <a:moveTo>
                    <a:pt x="284011" y="98080"/>
                  </a:moveTo>
                  <a:lnTo>
                    <a:pt x="282886" y="98591"/>
                  </a:lnTo>
                  <a:lnTo>
                    <a:pt x="283807" y="98693"/>
                  </a:lnTo>
                  <a:lnTo>
                    <a:pt x="284114" y="98386"/>
                  </a:lnTo>
                  <a:lnTo>
                    <a:pt x="284011" y="98080"/>
                  </a:lnTo>
                  <a:close/>
                  <a:moveTo>
                    <a:pt x="168852" y="92761"/>
                  </a:moveTo>
                  <a:lnTo>
                    <a:pt x="168136" y="92864"/>
                  </a:lnTo>
                  <a:lnTo>
                    <a:pt x="168136" y="93682"/>
                  </a:lnTo>
                  <a:lnTo>
                    <a:pt x="167318" y="94295"/>
                  </a:lnTo>
                  <a:lnTo>
                    <a:pt x="167318" y="95114"/>
                  </a:lnTo>
                  <a:lnTo>
                    <a:pt x="166807" y="95420"/>
                  </a:lnTo>
                  <a:lnTo>
                    <a:pt x="166705" y="95318"/>
                  </a:lnTo>
                  <a:lnTo>
                    <a:pt x="165886" y="96341"/>
                  </a:lnTo>
                  <a:lnTo>
                    <a:pt x="165375" y="96239"/>
                  </a:lnTo>
                  <a:lnTo>
                    <a:pt x="164966" y="96443"/>
                  </a:lnTo>
                  <a:lnTo>
                    <a:pt x="164761" y="96443"/>
                  </a:lnTo>
                  <a:lnTo>
                    <a:pt x="164045" y="96955"/>
                  </a:lnTo>
                  <a:lnTo>
                    <a:pt x="163330" y="105955"/>
                  </a:lnTo>
                  <a:lnTo>
                    <a:pt x="163943" y="106261"/>
                  </a:lnTo>
                  <a:lnTo>
                    <a:pt x="165477" y="105852"/>
                  </a:lnTo>
                  <a:lnTo>
                    <a:pt x="168750" y="96034"/>
                  </a:lnTo>
                  <a:lnTo>
                    <a:pt x="169159" y="96341"/>
                  </a:lnTo>
                  <a:lnTo>
                    <a:pt x="169364" y="96136"/>
                  </a:lnTo>
                  <a:lnTo>
                    <a:pt x="168852" y="92761"/>
                  </a:lnTo>
                  <a:close/>
                  <a:moveTo>
                    <a:pt x="79364" y="112500"/>
                  </a:moveTo>
                  <a:lnTo>
                    <a:pt x="79057" y="112807"/>
                  </a:lnTo>
                  <a:lnTo>
                    <a:pt x="79057" y="113011"/>
                  </a:lnTo>
                  <a:lnTo>
                    <a:pt x="79364" y="112500"/>
                  </a:lnTo>
                  <a:close/>
                  <a:moveTo>
                    <a:pt x="185114" y="3784"/>
                  </a:moveTo>
                  <a:lnTo>
                    <a:pt x="184091" y="4398"/>
                  </a:lnTo>
                  <a:lnTo>
                    <a:pt x="184909" y="4705"/>
                  </a:lnTo>
                  <a:lnTo>
                    <a:pt x="183273" y="4705"/>
                  </a:lnTo>
                  <a:lnTo>
                    <a:pt x="183989" y="5011"/>
                  </a:lnTo>
                  <a:lnTo>
                    <a:pt x="184193" y="5318"/>
                  </a:lnTo>
                  <a:lnTo>
                    <a:pt x="184193" y="5318"/>
                  </a:lnTo>
                  <a:lnTo>
                    <a:pt x="183784" y="5011"/>
                  </a:lnTo>
                  <a:lnTo>
                    <a:pt x="180102" y="5114"/>
                  </a:lnTo>
                  <a:lnTo>
                    <a:pt x="180920" y="5216"/>
                  </a:lnTo>
                  <a:lnTo>
                    <a:pt x="177341" y="5727"/>
                  </a:lnTo>
                  <a:lnTo>
                    <a:pt x="177545" y="5932"/>
                  </a:lnTo>
                  <a:lnTo>
                    <a:pt x="177341" y="6239"/>
                  </a:lnTo>
                  <a:lnTo>
                    <a:pt x="176830" y="6136"/>
                  </a:lnTo>
                  <a:lnTo>
                    <a:pt x="177955" y="6443"/>
                  </a:lnTo>
                  <a:lnTo>
                    <a:pt x="177239" y="6443"/>
                  </a:lnTo>
                  <a:lnTo>
                    <a:pt x="178568" y="6852"/>
                  </a:lnTo>
                  <a:lnTo>
                    <a:pt x="178057" y="7057"/>
                  </a:lnTo>
                  <a:lnTo>
                    <a:pt x="178261" y="6852"/>
                  </a:lnTo>
                  <a:lnTo>
                    <a:pt x="178261" y="6852"/>
                  </a:lnTo>
                  <a:lnTo>
                    <a:pt x="174477" y="7057"/>
                  </a:lnTo>
                  <a:lnTo>
                    <a:pt x="174682" y="7466"/>
                  </a:lnTo>
                  <a:lnTo>
                    <a:pt x="174989" y="7568"/>
                  </a:lnTo>
                  <a:lnTo>
                    <a:pt x="175091" y="7773"/>
                  </a:lnTo>
                  <a:lnTo>
                    <a:pt x="177648" y="8795"/>
                  </a:lnTo>
                  <a:lnTo>
                    <a:pt x="177852" y="9205"/>
                  </a:lnTo>
                  <a:lnTo>
                    <a:pt x="178261" y="9511"/>
                  </a:lnTo>
                  <a:lnTo>
                    <a:pt x="178169" y="9789"/>
                  </a:lnTo>
                  <a:lnTo>
                    <a:pt x="177852" y="9409"/>
                  </a:lnTo>
                  <a:lnTo>
                    <a:pt x="177545" y="9716"/>
                  </a:lnTo>
                  <a:lnTo>
                    <a:pt x="177034" y="8591"/>
                  </a:lnTo>
                  <a:lnTo>
                    <a:pt x="173352" y="8182"/>
                  </a:lnTo>
                  <a:lnTo>
                    <a:pt x="173352" y="8182"/>
                  </a:lnTo>
                  <a:lnTo>
                    <a:pt x="173966" y="8489"/>
                  </a:lnTo>
                  <a:lnTo>
                    <a:pt x="172636" y="8489"/>
                  </a:lnTo>
                  <a:lnTo>
                    <a:pt x="175193" y="9205"/>
                  </a:lnTo>
                  <a:lnTo>
                    <a:pt x="175193" y="9205"/>
                  </a:lnTo>
                  <a:lnTo>
                    <a:pt x="172432" y="8898"/>
                  </a:lnTo>
                  <a:lnTo>
                    <a:pt x="172432" y="8693"/>
                  </a:lnTo>
                  <a:lnTo>
                    <a:pt x="172227" y="8591"/>
                  </a:lnTo>
                  <a:lnTo>
                    <a:pt x="172227" y="8182"/>
                  </a:lnTo>
                  <a:lnTo>
                    <a:pt x="171307" y="7670"/>
                  </a:lnTo>
                  <a:lnTo>
                    <a:pt x="171307" y="7670"/>
                  </a:lnTo>
                  <a:lnTo>
                    <a:pt x="171716" y="8284"/>
                  </a:lnTo>
                  <a:lnTo>
                    <a:pt x="171102" y="8898"/>
                  </a:lnTo>
                  <a:lnTo>
                    <a:pt x="172227" y="9511"/>
                  </a:lnTo>
                  <a:lnTo>
                    <a:pt x="172330" y="10330"/>
                  </a:lnTo>
                  <a:lnTo>
                    <a:pt x="174886" y="11148"/>
                  </a:lnTo>
                  <a:lnTo>
                    <a:pt x="173966" y="11045"/>
                  </a:lnTo>
                  <a:lnTo>
                    <a:pt x="174170" y="12068"/>
                  </a:lnTo>
                  <a:lnTo>
                    <a:pt x="173966" y="12375"/>
                  </a:lnTo>
                  <a:lnTo>
                    <a:pt x="173966" y="12580"/>
                  </a:lnTo>
                  <a:lnTo>
                    <a:pt x="173250" y="13398"/>
                  </a:lnTo>
                  <a:lnTo>
                    <a:pt x="170898" y="12886"/>
                  </a:lnTo>
                  <a:lnTo>
                    <a:pt x="172023" y="12886"/>
                  </a:lnTo>
                  <a:lnTo>
                    <a:pt x="172125" y="13091"/>
                  </a:lnTo>
                  <a:lnTo>
                    <a:pt x="172636" y="12989"/>
                  </a:lnTo>
                  <a:lnTo>
                    <a:pt x="172330" y="12784"/>
                  </a:lnTo>
                  <a:lnTo>
                    <a:pt x="173045" y="11761"/>
                  </a:lnTo>
                  <a:lnTo>
                    <a:pt x="173045" y="11352"/>
                  </a:lnTo>
                  <a:lnTo>
                    <a:pt x="172330" y="11045"/>
                  </a:lnTo>
                  <a:lnTo>
                    <a:pt x="171307" y="9920"/>
                  </a:lnTo>
                  <a:lnTo>
                    <a:pt x="171307" y="9716"/>
                  </a:lnTo>
                  <a:lnTo>
                    <a:pt x="171102" y="9307"/>
                  </a:lnTo>
                  <a:lnTo>
                    <a:pt x="170284" y="8898"/>
                  </a:lnTo>
                  <a:lnTo>
                    <a:pt x="170182" y="7875"/>
                  </a:lnTo>
                  <a:lnTo>
                    <a:pt x="168545" y="7670"/>
                  </a:lnTo>
                  <a:lnTo>
                    <a:pt x="167727" y="8080"/>
                  </a:lnTo>
                  <a:lnTo>
                    <a:pt x="167625" y="8795"/>
                  </a:lnTo>
                  <a:lnTo>
                    <a:pt x="167114" y="9205"/>
                  </a:lnTo>
                  <a:lnTo>
                    <a:pt x="167727" y="9409"/>
                  </a:lnTo>
                  <a:lnTo>
                    <a:pt x="168034" y="10432"/>
                  </a:lnTo>
                  <a:lnTo>
                    <a:pt x="169875" y="10943"/>
                  </a:lnTo>
                  <a:lnTo>
                    <a:pt x="169568" y="11557"/>
                  </a:lnTo>
                  <a:lnTo>
                    <a:pt x="164148" y="10227"/>
                  </a:lnTo>
                  <a:lnTo>
                    <a:pt x="163636" y="10432"/>
                  </a:lnTo>
                  <a:lnTo>
                    <a:pt x="164352" y="10841"/>
                  </a:lnTo>
                  <a:lnTo>
                    <a:pt x="163841" y="11250"/>
                  </a:lnTo>
                  <a:lnTo>
                    <a:pt x="159648" y="11557"/>
                  </a:lnTo>
                  <a:lnTo>
                    <a:pt x="159648" y="11557"/>
                  </a:lnTo>
                  <a:lnTo>
                    <a:pt x="159955" y="11455"/>
                  </a:lnTo>
                  <a:lnTo>
                    <a:pt x="159852" y="11045"/>
                  </a:lnTo>
                  <a:lnTo>
                    <a:pt x="159750" y="11045"/>
                  </a:lnTo>
                  <a:lnTo>
                    <a:pt x="158830" y="11250"/>
                  </a:lnTo>
                  <a:lnTo>
                    <a:pt x="159136" y="11352"/>
                  </a:lnTo>
                  <a:lnTo>
                    <a:pt x="158830" y="11455"/>
                  </a:lnTo>
                  <a:lnTo>
                    <a:pt x="158625" y="11352"/>
                  </a:lnTo>
                  <a:lnTo>
                    <a:pt x="156682" y="11966"/>
                  </a:lnTo>
                  <a:lnTo>
                    <a:pt x="156886" y="12068"/>
                  </a:lnTo>
                  <a:lnTo>
                    <a:pt x="155250" y="12886"/>
                  </a:lnTo>
                  <a:lnTo>
                    <a:pt x="154330" y="12273"/>
                  </a:lnTo>
                  <a:lnTo>
                    <a:pt x="155352" y="11966"/>
                  </a:lnTo>
                  <a:lnTo>
                    <a:pt x="152898" y="11250"/>
                  </a:lnTo>
                  <a:lnTo>
                    <a:pt x="153614" y="11659"/>
                  </a:lnTo>
                  <a:lnTo>
                    <a:pt x="153614" y="12375"/>
                  </a:lnTo>
                  <a:lnTo>
                    <a:pt x="154227" y="12784"/>
                  </a:lnTo>
                  <a:lnTo>
                    <a:pt x="154227" y="13602"/>
                  </a:lnTo>
                  <a:lnTo>
                    <a:pt x="152795" y="13193"/>
                  </a:lnTo>
                  <a:lnTo>
                    <a:pt x="151466" y="14011"/>
                  </a:lnTo>
                  <a:lnTo>
                    <a:pt x="152080" y="14727"/>
                  </a:lnTo>
                  <a:lnTo>
                    <a:pt x="151568" y="14932"/>
                  </a:lnTo>
                  <a:lnTo>
                    <a:pt x="149625" y="14318"/>
                  </a:lnTo>
                  <a:lnTo>
                    <a:pt x="149420" y="14523"/>
                  </a:lnTo>
                  <a:lnTo>
                    <a:pt x="150545" y="15239"/>
                  </a:lnTo>
                  <a:lnTo>
                    <a:pt x="150341" y="15545"/>
                  </a:lnTo>
                  <a:lnTo>
                    <a:pt x="146864" y="13295"/>
                  </a:lnTo>
                  <a:lnTo>
                    <a:pt x="147068" y="13193"/>
                  </a:lnTo>
                  <a:lnTo>
                    <a:pt x="145636" y="12580"/>
                  </a:lnTo>
                  <a:lnTo>
                    <a:pt x="151057" y="13398"/>
                  </a:lnTo>
                  <a:lnTo>
                    <a:pt x="151977" y="12886"/>
                  </a:lnTo>
                  <a:lnTo>
                    <a:pt x="151875" y="12375"/>
                  </a:lnTo>
                  <a:lnTo>
                    <a:pt x="150648" y="11659"/>
                  </a:lnTo>
                  <a:lnTo>
                    <a:pt x="150750" y="11761"/>
                  </a:lnTo>
                  <a:lnTo>
                    <a:pt x="150750" y="11761"/>
                  </a:lnTo>
                  <a:lnTo>
                    <a:pt x="146455" y="10636"/>
                  </a:lnTo>
                  <a:lnTo>
                    <a:pt x="146045" y="10841"/>
                  </a:lnTo>
                  <a:lnTo>
                    <a:pt x="145841" y="10636"/>
                  </a:lnTo>
                  <a:lnTo>
                    <a:pt x="145841" y="10534"/>
                  </a:lnTo>
                  <a:lnTo>
                    <a:pt x="145227" y="10432"/>
                  </a:lnTo>
                  <a:lnTo>
                    <a:pt x="145739" y="10330"/>
                  </a:lnTo>
                  <a:lnTo>
                    <a:pt x="145023" y="10125"/>
                  </a:lnTo>
                  <a:lnTo>
                    <a:pt x="145023" y="10125"/>
                  </a:lnTo>
                  <a:lnTo>
                    <a:pt x="145125" y="10227"/>
                  </a:lnTo>
                  <a:lnTo>
                    <a:pt x="143591" y="10330"/>
                  </a:lnTo>
                  <a:lnTo>
                    <a:pt x="143489" y="10125"/>
                  </a:lnTo>
                  <a:lnTo>
                    <a:pt x="142875" y="9920"/>
                  </a:lnTo>
                  <a:lnTo>
                    <a:pt x="144102" y="9920"/>
                  </a:lnTo>
                  <a:lnTo>
                    <a:pt x="143080" y="9409"/>
                  </a:lnTo>
                  <a:lnTo>
                    <a:pt x="142466" y="9920"/>
                  </a:lnTo>
                  <a:lnTo>
                    <a:pt x="141955" y="9409"/>
                  </a:lnTo>
                  <a:lnTo>
                    <a:pt x="141443" y="9716"/>
                  </a:lnTo>
                  <a:lnTo>
                    <a:pt x="141341" y="9511"/>
                  </a:lnTo>
                  <a:lnTo>
                    <a:pt x="141136" y="9409"/>
                  </a:lnTo>
                  <a:lnTo>
                    <a:pt x="140727" y="9920"/>
                  </a:lnTo>
                  <a:lnTo>
                    <a:pt x="140830" y="9409"/>
                  </a:lnTo>
                  <a:lnTo>
                    <a:pt x="140318" y="9307"/>
                  </a:lnTo>
                  <a:lnTo>
                    <a:pt x="139398" y="10023"/>
                  </a:lnTo>
                  <a:lnTo>
                    <a:pt x="138886" y="9716"/>
                  </a:lnTo>
                  <a:lnTo>
                    <a:pt x="138068" y="9920"/>
                  </a:lnTo>
                  <a:lnTo>
                    <a:pt x="138477" y="10227"/>
                  </a:lnTo>
                  <a:lnTo>
                    <a:pt x="137864" y="10125"/>
                  </a:lnTo>
                  <a:lnTo>
                    <a:pt x="137557" y="10330"/>
                  </a:lnTo>
                  <a:lnTo>
                    <a:pt x="137761" y="10534"/>
                  </a:lnTo>
                  <a:lnTo>
                    <a:pt x="137352" y="10636"/>
                  </a:lnTo>
                  <a:lnTo>
                    <a:pt x="137352" y="10125"/>
                  </a:lnTo>
                  <a:lnTo>
                    <a:pt x="137045" y="10534"/>
                  </a:lnTo>
                  <a:lnTo>
                    <a:pt x="136330" y="10534"/>
                  </a:lnTo>
                  <a:lnTo>
                    <a:pt x="136636" y="10636"/>
                  </a:lnTo>
                  <a:lnTo>
                    <a:pt x="136125" y="10636"/>
                  </a:lnTo>
                  <a:lnTo>
                    <a:pt x="136125" y="10841"/>
                  </a:lnTo>
                  <a:lnTo>
                    <a:pt x="135818" y="10841"/>
                  </a:lnTo>
                  <a:lnTo>
                    <a:pt x="135716" y="11045"/>
                  </a:lnTo>
                  <a:lnTo>
                    <a:pt x="135102" y="11352"/>
                  </a:lnTo>
                  <a:lnTo>
                    <a:pt x="135818" y="11455"/>
                  </a:lnTo>
                  <a:lnTo>
                    <a:pt x="135307" y="11455"/>
                  </a:lnTo>
                  <a:lnTo>
                    <a:pt x="135102" y="11761"/>
                  </a:lnTo>
                  <a:lnTo>
                    <a:pt x="135102" y="11966"/>
                  </a:lnTo>
                  <a:lnTo>
                    <a:pt x="134795" y="11659"/>
                  </a:lnTo>
                  <a:lnTo>
                    <a:pt x="134386" y="11761"/>
                  </a:lnTo>
                  <a:lnTo>
                    <a:pt x="134591" y="11864"/>
                  </a:lnTo>
                  <a:lnTo>
                    <a:pt x="134080" y="12068"/>
                  </a:lnTo>
                  <a:lnTo>
                    <a:pt x="134386" y="12068"/>
                  </a:lnTo>
                  <a:lnTo>
                    <a:pt x="134693" y="12273"/>
                  </a:lnTo>
                  <a:lnTo>
                    <a:pt x="134693" y="12375"/>
                  </a:lnTo>
                  <a:lnTo>
                    <a:pt x="133875" y="12477"/>
                  </a:lnTo>
                  <a:lnTo>
                    <a:pt x="134591" y="12477"/>
                  </a:lnTo>
                  <a:lnTo>
                    <a:pt x="133364" y="12784"/>
                  </a:lnTo>
                  <a:lnTo>
                    <a:pt x="133568" y="12886"/>
                  </a:lnTo>
                  <a:lnTo>
                    <a:pt x="133057" y="13091"/>
                  </a:lnTo>
                  <a:lnTo>
                    <a:pt x="133670" y="13295"/>
                  </a:lnTo>
                  <a:lnTo>
                    <a:pt x="132852" y="13500"/>
                  </a:lnTo>
                  <a:lnTo>
                    <a:pt x="133057" y="13602"/>
                  </a:lnTo>
                  <a:lnTo>
                    <a:pt x="133057" y="14216"/>
                  </a:lnTo>
                  <a:lnTo>
                    <a:pt x="132750" y="14420"/>
                  </a:lnTo>
                  <a:lnTo>
                    <a:pt x="132545" y="14318"/>
                  </a:lnTo>
                  <a:lnTo>
                    <a:pt x="131932" y="14727"/>
                  </a:lnTo>
                  <a:lnTo>
                    <a:pt x="132239" y="14625"/>
                  </a:lnTo>
                  <a:lnTo>
                    <a:pt x="130909" y="15750"/>
                  </a:lnTo>
                  <a:lnTo>
                    <a:pt x="131114" y="15852"/>
                  </a:lnTo>
                  <a:lnTo>
                    <a:pt x="131830" y="15545"/>
                  </a:lnTo>
                  <a:lnTo>
                    <a:pt x="131727" y="15443"/>
                  </a:lnTo>
                  <a:lnTo>
                    <a:pt x="132136" y="15443"/>
                  </a:lnTo>
                  <a:lnTo>
                    <a:pt x="131932" y="15545"/>
                  </a:lnTo>
                  <a:lnTo>
                    <a:pt x="132136" y="15545"/>
                  </a:lnTo>
                  <a:lnTo>
                    <a:pt x="131727" y="15852"/>
                  </a:lnTo>
                  <a:lnTo>
                    <a:pt x="130091" y="15955"/>
                  </a:lnTo>
                  <a:lnTo>
                    <a:pt x="129886" y="16057"/>
                  </a:lnTo>
                  <a:lnTo>
                    <a:pt x="130193" y="16466"/>
                  </a:lnTo>
                  <a:lnTo>
                    <a:pt x="128864" y="16568"/>
                  </a:lnTo>
                  <a:lnTo>
                    <a:pt x="129886" y="16568"/>
                  </a:lnTo>
                  <a:lnTo>
                    <a:pt x="128785" y="16804"/>
                  </a:lnTo>
                  <a:lnTo>
                    <a:pt x="128785" y="16804"/>
                  </a:lnTo>
                  <a:lnTo>
                    <a:pt x="127841" y="17182"/>
                  </a:lnTo>
                  <a:lnTo>
                    <a:pt x="128966" y="17386"/>
                  </a:lnTo>
                  <a:lnTo>
                    <a:pt x="127739" y="17386"/>
                  </a:lnTo>
                  <a:lnTo>
                    <a:pt x="128045" y="18102"/>
                  </a:lnTo>
                  <a:lnTo>
                    <a:pt x="129477" y="17795"/>
                  </a:lnTo>
                  <a:lnTo>
                    <a:pt x="129580" y="18000"/>
                  </a:lnTo>
                  <a:lnTo>
                    <a:pt x="129273" y="18205"/>
                  </a:lnTo>
                  <a:lnTo>
                    <a:pt x="127739" y="18307"/>
                  </a:lnTo>
                  <a:lnTo>
                    <a:pt x="128250" y="18511"/>
                  </a:lnTo>
                  <a:lnTo>
                    <a:pt x="127943" y="18818"/>
                  </a:lnTo>
                  <a:lnTo>
                    <a:pt x="128250" y="19023"/>
                  </a:lnTo>
                  <a:lnTo>
                    <a:pt x="127943" y="19227"/>
                  </a:lnTo>
                  <a:lnTo>
                    <a:pt x="128045" y="19330"/>
                  </a:lnTo>
                  <a:lnTo>
                    <a:pt x="129170" y="18614"/>
                  </a:lnTo>
                  <a:lnTo>
                    <a:pt x="128864" y="19023"/>
                  </a:lnTo>
                  <a:lnTo>
                    <a:pt x="128557" y="19023"/>
                  </a:lnTo>
                  <a:lnTo>
                    <a:pt x="128659" y="19330"/>
                  </a:lnTo>
                  <a:lnTo>
                    <a:pt x="127943" y="19841"/>
                  </a:lnTo>
                  <a:lnTo>
                    <a:pt x="128864" y="19534"/>
                  </a:lnTo>
                  <a:lnTo>
                    <a:pt x="128557" y="19841"/>
                  </a:lnTo>
                  <a:lnTo>
                    <a:pt x="128864" y="20045"/>
                  </a:lnTo>
                  <a:lnTo>
                    <a:pt x="128250" y="20352"/>
                  </a:lnTo>
                  <a:lnTo>
                    <a:pt x="129068" y="20761"/>
                  </a:lnTo>
                  <a:lnTo>
                    <a:pt x="128966" y="20864"/>
                  </a:lnTo>
                  <a:lnTo>
                    <a:pt x="131011" y="20148"/>
                  </a:lnTo>
                  <a:lnTo>
                    <a:pt x="131114" y="19943"/>
                  </a:lnTo>
                  <a:lnTo>
                    <a:pt x="131727" y="19841"/>
                  </a:lnTo>
                  <a:lnTo>
                    <a:pt x="131727" y="19534"/>
                  </a:lnTo>
                  <a:lnTo>
                    <a:pt x="131830" y="19330"/>
                  </a:lnTo>
                  <a:lnTo>
                    <a:pt x="132034" y="19841"/>
                  </a:lnTo>
                  <a:lnTo>
                    <a:pt x="132443" y="20045"/>
                  </a:lnTo>
                  <a:lnTo>
                    <a:pt x="132443" y="20659"/>
                  </a:lnTo>
                  <a:lnTo>
                    <a:pt x="133670" y="22295"/>
                  </a:lnTo>
                  <a:lnTo>
                    <a:pt x="133670" y="22500"/>
                  </a:lnTo>
                  <a:lnTo>
                    <a:pt x="133773" y="22705"/>
                  </a:lnTo>
                  <a:lnTo>
                    <a:pt x="133466" y="22705"/>
                  </a:lnTo>
                  <a:lnTo>
                    <a:pt x="133875" y="23523"/>
                  </a:lnTo>
                  <a:lnTo>
                    <a:pt x="135000" y="23318"/>
                  </a:lnTo>
                  <a:lnTo>
                    <a:pt x="135205" y="22909"/>
                  </a:lnTo>
                  <a:lnTo>
                    <a:pt x="136023" y="22807"/>
                  </a:lnTo>
                  <a:lnTo>
                    <a:pt x="136432" y="20557"/>
                  </a:lnTo>
                  <a:lnTo>
                    <a:pt x="136636" y="20557"/>
                  </a:lnTo>
                  <a:lnTo>
                    <a:pt x="136023" y="20455"/>
                  </a:lnTo>
                  <a:lnTo>
                    <a:pt x="137761" y="19739"/>
                  </a:lnTo>
                  <a:lnTo>
                    <a:pt x="137250" y="19739"/>
                  </a:lnTo>
                  <a:lnTo>
                    <a:pt x="137966" y="19227"/>
                  </a:lnTo>
                  <a:lnTo>
                    <a:pt x="136636" y="18307"/>
                  </a:lnTo>
                  <a:lnTo>
                    <a:pt x="136432" y="17489"/>
                  </a:lnTo>
                  <a:lnTo>
                    <a:pt x="136636" y="17591"/>
                  </a:lnTo>
                  <a:lnTo>
                    <a:pt x="136636" y="17080"/>
                  </a:lnTo>
                  <a:lnTo>
                    <a:pt x="136432" y="16773"/>
                  </a:lnTo>
                  <a:lnTo>
                    <a:pt x="136943" y="16670"/>
                  </a:lnTo>
                  <a:lnTo>
                    <a:pt x="136841" y="16670"/>
                  </a:lnTo>
                  <a:lnTo>
                    <a:pt x="136739" y="16466"/>
                  </a:lnTo>
                  <a:lnTo>
                    <a:pt x="137148" y="16364"/>
                  </a:lnTo>
                  <a:lnTo>
                    <a:pt x="137045" y="16364"/>
                  </a:lnTo>
                  <a:lnTo>
                    <a:pt x="137455" y="16159"/>
                  </a:lnTo>
                  <a:lnTo>
                    <a:pt x="137352" y="16057"/>
                  </a:lnTo>
                  <a:lnTo>
                    <a:pt x="137864" y="15955"/>
                  </a:lnTo>
                  <a:lnTo>
                    <a:pt x="137864" y="15852"/>
                  </a:lnTo>
                  <a:lnTo>
                    <a:pt x="139091" y="15034"/>
                  </a:lnTo>
                  <a:lnTo>
                    <a:pt x="138784" y="14625"/>
                  </a:lnTo>
                  <a:lnTo>
                    <a:pt x="138886" y="14216"/>
                  </a:lnTo>
                  <a:lnTo>
                    <a:pt x="138989" y="14216"/>
                  </a:lnTo>
                  <a:lnTo>
                    <a:pt x="139193" y="14011"/>
                  </a:lnTo>
                  <a:lnTo>
                    <a:pt x="139398" y="14011"/>
                  </a:lnTo>
                  <a:lnTo>
                    <a:pt x="139295" y="13909"/>
                  </a:lnTo>
                  <a:lnTo>
                    <a:pt x="141034" y="13705"/>
                  </a:lnTo>
                  <a:lnTo>
                    <a:pt x="141545" y="14011"/>
                  </a:lnTo>
                  <a:lnTo>
                    <a:pt x="141648" y="14625"/>
                  </a:lnTo>
                  <a:lnTo>
                    <a:pt x="139807" y="15852"/>
                  </a:lnTo>
                  <a:lnTo>
                    <a:pt x="139807" y="15955"/>
                  </a:lnTo>
                  <a:lnTo>
                    <a:pt x="139295" y="16159"/>
                  </a:lnTo>
                  <a:lnTo>
                    <a:pt x="139602" y="18511"/>
                  </a:lnTo>
                  <a:lnTo>
                    <a:pt x="140523" y="18716"/>
                  </a:lnTo>
                  <a:lnTo>
                    <a:pt x="140523" y="18920"/>
                  </a:lnTo>
                  <a:lnTo>
                    <a:pt x="140727" y="18920"/>
                  </a:lnTo>
                  <a:lnTo>
                    <a:pt x="140830" y="19330"/>
                  </a:lnTo>
                  <a:lnTo>
                    <a:pt x="142977" y="18818"/>
                  </a:lnTo>
                  <a:lnTo>
                    <a:pt x="142875" y="18716"/>
                  </a:lnTo>
                  <a:lnTo>
                    <a:pt x="143386" y="18511"/>
                  </a:lnTo>
                  <a:lnTo>
                    <a:pt x="143284" y="18716"/>
                  </a:lnTo>
                  <a:lnTo>
                    <a:pt x="144731" y="18619"/>
                  </a:lnTo>
                  <a:lnTo>
                    <a:pt x="144731" y="18619"/>
                  </a:lnTo>
                  <a:lnTo>
                    <a:pt x="146045" y="19125"/>
                  </a:lnTo>
                  <a:lnTo>
                    <a:pt x="144920" y="19227"/>
                  </a:lnTo>
                  <a:lnTo>
                    <a:pt x="144818" y="19432"/>
                  </a:lnTo>
                  <a:lnTo>
                    <a:pt x="144614" y="19330"/>
                  </a:lnTo>
                  <a:lnTo>
                    <a:pt x="144511" y="19636"/>
                  </a:lnTo>
                  <a:lnTo>
                    <a:pt x="141750" y="19739"/>
                  </a:lnTo>
                  <a:lnTo>
                    <a:pt x="141341" y="20045"/>
                  </a:lnTo>
                  <a:lnTo>
                    <a:pt x="142261" y="20864"/>
                  </a:lnTo>
                  <a:lnTo>
                    <a:pt x="142261" y="21784"/>
                  </a:lnTo>
                  <a:lnTo>
                    <a:pt x="140318" y="21375"/>
                  </a:lnTo>
                  <a:lnTo>
                    <a:pt x="139909" y="22398"/>
                  </a:lnTo>
                  <a:lnTo>
                    <a:pt x="140011" y="23318"/>
                  </a:lnTo>
                  <a:lnTo>
                    <a:pt x="140114" y="23932"/>
                  </a:lnTo>
                  <a:lnTo>
                    <a:pt x="139807" y="23932"/>
                  </a:lnTo>
                  <a:lnTo>
                    <a:pt x="140011" y="23318"/>
                  </a:lnTo>
                  <a:lnTo>
                    <a:pt x="138886" y="24545"/>
                  </a:lnTo>
                  <a:lnTo>
                    <a:pt x="138375" y="24239"/>
                  </a:lnTo>
                  <a:lnTo>
                    <a:pt x="134693" y="24750"/>
                  </a:lnTo>
                  <a:lnTo>
                    <a:pt x="135307" y="25261"/>
                  </a:lnTo>
                  <a:lnTo>
                    <a:pt x="134795" y="25057"/>
                  </a:lnTo>
                  <a:lnTo>
                    <a:pt x="134693" y="24750"/>
                  </a:lnTo>
                  <a:lnTo>
                    <a:pt x="133773" y="24443"/>
                  </a:lnTo>
                  <a:lnTo>
                    <a:pt x="132852" y="24955"/>
                  </a:lnTo>
                  <a:lnTo>
                    <a:pt x="131625" y="24443"/>
                  </a:lnTo>
                  <a:lnTo>
                    <a:pt x="131625" y="24136"/>
                  </a:lnTo>
                  <a:lnTo>
                    <a:pt x="131318" y="23830"/>
                  </a:lnTo>
                  <a:lnTo>
                    <a:pt x="131420" y="23420"/>
                  </a:lnTo>
                  <a:lnTo>
                    <a:pt x="131727" y="23216"/>
                  </a:lnTo>
                  <a:lnTo>
                    <a:pt x="131625" y="23114"/>
                  </a:lnTo>
                  <a:lnTo>
                    <a:pt x="132341" y="22500"/>
                  </a:lnTo>
                  <a:lnTo>
                    <a:pt x="131932" y="22398"/>
                  </a:lnTo>
                  <a:lnTo>
                    <a:pt x="132034" y="21273"/>
                  </a:lnTo>
                  <a:lnTo>
                    <a:pt x="132034" y="21273"/>
                  </a:lnTo>
                  <a:lnTo>
                    <a:pt x="130602" y="21886"/>
                  </a:lnTo>
                  <a:lnTo>
                    <a:pt x="130602" y="22193"/>
                  </a:lnTo>
                  <a:lnTo>
                    <a:pt x="131011" y="22295"/>
                  </a:lnTo>
                  <a:lnTo>
                    <a:pt x="130705" y="22398"/>
                  </a:lnTo>
                  <a:lnTo>
                    <a:pt x="130295" y="22398"/>
                  </a:lnTo>
                  <a:lnTo>
                    <a:pt x="130295" y="23318"/>
                  </a:lnTo>
                  <a:lnTo>
                    <a:pt x="130909" y="24341"/>
                  </a:lnTo>
                  <a:lnTo>
                    <a:pt x="130807" y="24545"/>
                  </a:lnTo>
                  <a:lnTo>
                    <a:pt x="131625" y="25261"/>
                  </a:lnTo>
                  <a:lnTo>
                    <a:pt x="131011" y="25057"/>
                  </a:lnTo>
                  <a:lnTo>
                    <a:pt x="130705" y="25466"/>
                  </a:lnTo>
                  <a:lnTo>
                    <a:pt x="128864" y="25466"/>
                  </a:lnTo>
                  <a:lnTo>
                    <a:pt x="127739" y="26080"/>
                  </a:lnTo>
                  <a:lnTo>
                    <a:pt x="127432" y="27205"/>
                  </a:lnTo>
                  <a:lnTo>
                    <a:pt x="127227" y="27205"/>
                  </a:lnTo>
                  <a:lnTo>
                    <a:pt x="127534" y="27409"/>
                  </a:lnTo>
                  <a:lnTo>
                    <a:pt x="127534" y="27409"/>
                  </a:lnTo>
                  <a:lnTo>
                    <a:pt x="126818" y="27307"/>
                  </a:lnTo>
                  <a:lnTo>
                    <a:pt x="126818" y="27307"/>
                  </a:lnTo>
                  <a:lnTo>
                    <a:pt x="127432" y="27409"/>
                  </a:lnTo>
                  <a:lnTo>
                    <a:pt x="125386" y="28023"/>
                  </a:lnTo>
                  <a:lnTo>
                    <a:pt x="124977" y="28841"/>
                  </a:lnTo>
                  <a:lnTo>
                    <a:pt x="124261" y="29148"/>
                  </a:lnTo>
                  <a:lnTo>
                    <a:pt x="124466" y="29352"/>
                  </a:lnTo>
                  <a:lnTo>
                    <a:pt x="123239" y="29455"/>
                  </a:lnTo>
                  <a:lnTo>
                    <a:pt x="123136" y="29148"/>
                  </a:lnTo>
                  <a:lnTo>
                    <a:pt x="122727" y="29352"/>
                  </a:lnTo>
                  <a:lnTo>
                    <a:pt x="123034" y="30170"/>
                  </a:lnTo>
                  <a:lnTo>
                    <a:pt x="120375" y="30375"/>
                  </a:lnTo>
                  <a:lnTo>
                    <a:pt x="120784" y="30477"/>
                  </a:lnTo>
                  <a:lnTo>
                    <a:pt x="120477" y="30580"/>
                  </a:lnTo>
                  <a:lnTo>
                    <a:pt x="120682" y="30682"/>
                  </a:lnTo>
                  <a:lnTo>
                    <a:pt x="120375" y="30784"/>
                  </a:lnTo>
                  <a:lnTo>
                    <a:pt x="122011" y="31193"/>
                  </a:lnTo>
                  <a:lnTo>
                    <a:pt x="121909" y="31295"/>
                  </a:lnTo>
                  <a:lnTo>
                    <a:pt x="122114" y="31295"/>
                  </a:lnTo>
                  <a:lnTo>
                    <a:pt x="122114" y="31398"/>
                  </a:lnTo>
                  <a:lnTo>
                    <a:pt x="122727" y="31602"/>
                  </a:lnTo>
                  <a:lnTo>
                    <a:pt x="122420" y="31705"/>
                  </a:lnTo>
                  <a:lnTo>
                    <a:pt x="122523" y="32114"/>
                  </a:lnTo>
                  <a:lnTo>
                    <a:pt x="123239" y="32523"/>
                  </a:lnTo>
                  <a:lnTo>
                    <a:pt x="123341" y="33136"/>
                  </a:lnTo>
                  <a:lnTo>
                    <a:pt x="123136" y="33034"/>
                  </a:lnTo>
                  <a:lnTo>
                    <a:pt x="123750" y="33852"/>
                  </a:lnTo>
                  <a:lnTo>
                    <a:pt x="123750" y="33852"/>
                  </a:lnTo>
                  <a:lnTo>
                    <a:pt x="123239" y="33341"/>
                  </a:lnTo>
                  <a:lnTo>
                    <a:pt x="123136" y="34261"/>
                  </a:lnTo>
                  <a:lnTo>
                    <a:pt x="123239" y="34159"/>
                  </a:lnTo>
                  <a:lnTo>
                    <a:pt x="123239" y="34261"/>
                  </a:lnTo>
                  <a:lnTo>
                    <a:pt x="122830" y="35386"/>
                  </a:lnTo>
                  <a:lnTo>
                    <a:pt x="117409" y="35284"/>
                  </a:lnTo>
                  <a:lnTo>
                    <a:pt x="117307" y="35489"/>
                  </a:lnTo>
                  <a:lnTo>
                    <a:pt x="116898" y="35591"/>
                  </a:lnTo>
                  <a:lnTo>
                    <a:pt x="116693" y="36307"/>
                  </a:lnTo>
                  <a:lnTo>
                    <a:pt x="116898" y="36307"/>
                  </a:lnTo>
                  <a:lnTo>
                    <a:pt x="116898" y="36614"/>
                  </a:lnTo>
                  <a:lnTo>
                    <a:pt x="117000" y="36614"/>
                  </a:lnTo>
                  <a:lnTo>
                    <a:pt x="116182" y="40091"/>
                  </a:lnTo>
                  <a:lnTo>
                    <a:pt x="116795" y="39784"/>
                  </a:lnTo>
                  <a:lnTo>
                    <a:pt x="116386" y="40295"/>
                  </a:lnTo>
                  <a:lnTo>
                    <a:pt x="116687" y="40446"/>
                  </a:lnTo>
                  <a:lnTo>
                    <a:pt x="116687" y="40446"/>
                  </a:lnTo>
                  <a:lnTo>
                    <a:pt x="116489" y="41932"/>
                  </a:lnTo>
                  <a:lnTo>
                    <a:pt x="118330" y="41625"/>
                  </a:lnTo>
                  <a:lnTo>
                    <a:pt x="118739" y="42136"/>
                  </a:lnTo>
                  <a:lnTo>
                    <a:pt x="118841" y="42034"/>
                  </a:lnTo>
                  <a:lnTo>
                    <a:pt x="119455" y="42955"/>
                  </a:lnTo>
                  <a:lnTo>
                    <a:pt x="122420" y="42034"/>
                  </a:lnTo>
                  <a:lnTo>
                    <a:pt x="122727" y="41625"/>
                  </a:lnTo>
                  <a:lnTo>
                    <a:pt x="123545" y="41318"/>
                  </a:lnTo>
                  <a:lnTo>
                    <a:pt x="123852" y="40500"/>
                  </a:lnTo>
                  <a:lnTo>
                    <a:pt x="124261" y="40193"/>
                  </a:lnTo>
                  <a:lnTo>
                    <a:pt x="123955" y="39784"/>
                  </a:lnTo>
                  <a:lnTo>
                    <a:pt x="124773" y="38045"/>
                  </a:lnTo>
                  <a:lnTo>
                    <a:pt x="126818" y="36920"/>
                  </a:lnTo>
                  <a:lnTo>
                    <a:pt x="126818" y="35693"/>
                  </a:lnTo>
                  <a:lnTo>
                    <a:pt x="129682" y="35591"/>
                  </a:lnTo>
                  <a:lnTo>
                    <a:pt x="131318" y="34466"/>
                  </a:lnTo>
                  <a:lnTo>
                    <a:pt x="136943" y="38864"/>
                  </a:lnTo>
                  <a:lnTo>
                    <a:pt x="137250" y="38864"/>
                  </a:lnTo>
                  <a:lnTo>
                    <a:pt x="137761" y="40091"/>
                  </a:lnTo>
                  <a:lnTo>
                    <a:pt x="137557" y="40193"/>
                  </a:lnTo>
                  <a:lnTo>
                    <a:pt x="137352" y="40807"/>
                  </a:lnTo>
                  <a:lnTo>
                    <a:pt x="137761" y="41011"/>
                  </a:lnTo>
                  <a:lnTo>
                    <a:pt x="138170" y="39989"/>
                  </a:lnTo>
                  <a:lnTo>
                    <a:pt x="138580" y="39886"/>
                  </a:lnTo>
                  <a:lnTo>
                    <a:pt x="138477" y="39375"/>
                  </a:lnTo>
                  <a:lnTo>
                    <a:pt x="138068" y="39170"/>
                  </a:lnTo>
                  <a:lnTo>
                    <a:pt x="138375" y="38455"/>
                  </a:lnTo>
                  <a:lnTo>
                    <a:pt x="139602" y="38966"/>
                  </a:lnTo>
                  <a:lnTo>
                    <a:pt x="137455" y="37432"/>
                  </a:lnTo>
                  <a:lnTo>
                    <a:pt x="137557" y="37023"/>
                  </a:lnTo>
                  <a:lnTo>
                    <a:pt x="136432" y="36818"/>
                  </a:lnTo>
                  <a:lnTo>
                    <a:pt x="134182" y="34057"/>
                  </a:lnTo>
                  <a:lnTo>
                    <a:pt x="134284" y="33341"/>
                  </a:lnTo>
                  <a:lnTo>
                    <a:pt x="135307" y="33239"/>
                  </a:lnTo>
                  <a:lnTo>
                    <a:pt x="135205" y="33750"/>
                  </a:lnTo>
                  <a:lnTo>
                    <a:pt x="135716" y="33750"/>
                  </a:lnTo>
                  <a:lnTo>
                    <a:pt x="135818" y="33545"/>
                  </a:lnTo>
                  <a:lnTo>
                    <a:pt x="136841" y="34670"/>
                  </a:lnTo>
                  <a:lnTo>
                    <a:pt x="136534" y="34670"/>
                  </a:lnTo>
                  <a:lnTo>
                    <a:pt x="138784" y="36102"/>
                  </a:lnTo>
                  <a:lnTo>
                    <a:pt x="138170" y="35898"/>
                  </a:lnTo>
                  <a:lnTo>
                    <a:pt x="140420" y="37330"/>
                  </a:lnTo>
                  <a:lnTo>
                    <a:pt x="140420" y="38557"/>
                  </a:lnTo>
                  <a:lnTo>
                    <a:pt x="140318" y="38557"/>
                  </a:lnTo>
                  <a:lnTo>
                    <a:pt x="141955" y="39989"/>
                  </a:lnTo>
                  <a:lnTo>
                    <a:pt x="141648" y="39989"/>
                  </a:lnTo>
                  <a:lnTo>
                    <a:pt x="141955" y="40398"/>
                  </a:lnTo>
                  <a:lnTo>
                    <a:pt x="143080" y="40500"/>
                  </a:lnTo>
                  <a:lnTo>
                    <a:pt x="143489" y="40807"/>
                  </a:lnTo>
                  <a:lnTo>
                    <a:pt x="143489" y="40909"/>
                  </a:lnTo>
                  <a:lnTo>
                    <a:pt x="142159" y="40909"/>
                  </a:lnTo>
                  <a:lnTo>
                    <a:pt x="142773" y="42239"/>
                  </a:lnTo>
                  <a:lnTo>
                    <a:pt x="143284" y="42545"/>
                  </a:lnTo>
                  <a:lnTo>
                    <a:pt x="143898" y="42545"/>
                  </a:lnTo>
                  <a:lnTo>
                    <a:pt x="143489" y="41318"/>
                  </a:lnTo>
                  <a:lnTo>
                    <a:pt x="144102" y="41523"/>
                  </a:lnTo>
                  <a:lnTo>
                    <a:pt x="144102" y="41523"/>
                  </a:lnTo>
                  <a:lnTo>
                    <a:pt x="143591" y="41011"/>
                  </a:lnTo>
                  <a:lnTo>
                    <a:pt x="144205" y="41011"/>
                  </a:lnTo>
                  <a:lnTo>
                    <a:pt x="144409" y="40807"/>
                  </a:lnTo>
                  <a:lnTo>
                    <a:pt x="143182" y="39989"/>
                  </a:lnTo>
                  <a:lnTo>
                    <a:pt x="143591" y="39784"/>
                  </a:lnTo>
                  <a:lnTo>
                    <a:pt x="143386" y="39682"/>
                  </a:lnTo>
                  <a:lnTo>
                    <a:pt x="143591" y="39580"/>
                  </a:lnTo>
                  <a:lnTo>
                    <a:pt x="143693" y="39784"/>
                  </a:lnTo>
                  <a:lnTo>
                    <a:pt x="143591" y="39477"/>
                  </a:lnTo>
                  <a:lnTo>
                    <a:pt x="143080" y="38761"/>
                  </a:lnTo>
                  <a:lnTo>
                    <a:pt x="143284" y="38352"/>
                  </a:lnTo>
                  <a:lnTo>
                    <a:pt x="143740" y="38678"/>
                  </a:lnTo>
                  <a:lnTo>
                    <a:pt x="143740" y="38678"/>
                  </a:lnTo>
                  <a:lnTo>
                    <a:pt x="144205" y="38864"/>
                  </a:lnTo>
                  <a:lnTo>
                    <a:pt x="144102" y="38557"/>
                  </a:lnTo>
                  <a:lnTo>
                    <a:pt x="144511" y="38761"/>
                  </a:lnTo>
                  <a:lnTo>
                    <a:pt x="144000" y="38250"/>
                  </a:lnTo>
                  <a:lnTo>
                    <a:pt x="145636" y="38045"/>
                  </a:lnTo>
                  <a:lnTo>
                    <a:pt x="145943" y="38250"/>
                  </a:lnTo>
                  <a:lnTo>
                    <a:pt x="146557" y="38250"/>
                  </a:lnTo>
                  <a:lnTo>
                    <a:pt x="146045" y="38864"/>
                  </a:lnTo>
                  <a:lnTo>
                    <a:pt x="146864" y="39989"/>
                  </a:lnTo>
                  <a:lnTo>
                    <a:pt x="146761" y="40295"/>
                  </a:lnTo>
                  <a:lnTo>
                    <a:pt x="147068" y="40398"/>
                  </a:lnTo>
                  <a:lnTo>
                    <a:pt x="146659" y="40602"/>
                  </a:lnTo>
                  <a:lnTo>
                    <a:pt x="146455" y="40295"/>
                  </a:lnTo>
                  <a:lnTo>
                    <a:pt x="146352" y="40705"/>
                  </a:lnTo>
                  <a:lnTo>
                    <a:pt x="146864" y="40807"/>
                  </a:lnTo>
                  <a:lnTo>
                    <a:pt x="147477" y="41727"/>
                  </a:lnTo>
                  <a:lnTo>
                    <a:pt x="147375" y="41830"/>
                  </a:lnTo>
                  <a:lnTo>
                    <a:pt x="147273" y="41932"/>
                  </a:lnTo>
                  <a:lnTo>
                    <a:pt x="148091" y="41932"/>
                  </a:lnTo>
                  <a:lnTo>
                    <a:pt x="147477" y="42239"/>
                  </a:lnTo>
                  <a:lnTo>
                    <a:pt x="147989" y="42239"/>
                  </a:lnTo>
                  <a:lnTo>
                    <a:pt x="147989" y="42341"/>
                  </a:lnTo>
                  <a:lnTo>
                    <a:pt x="148602" y="42239"/>
                  </a:lnTo>
                  <a:lnTo>
                    <a:pt x="149523" y="42852"/>
                  </a:lnTo>
                  <a:lnTo>
                    <a:pt x="150136" y="42648"/>
                  </a:lnTo>
                  <a:lnTo>
                    <a:pt x="150341" y="42136"/>
                  </a:lnTo>
                  <a:lnTo>
                    <a:pt x="152080" y="42955"/>
                  </a:lnTo>
                  <a:lnTo>
                    <a:pt x="152898" y="42852"/>
                  </a:lnTo>
                  <a:lnTo>
                    <a:pt x="153511" y="42239"/>
                  </a:lnTo>
                  <a:lnTo>
                    <a:pt x="154227" y="42443"/>
                  </a:lnTo>
                  <a:lnTo>
                    <a:pt x="154636" y="42136"/>
                  </a:lnTo>
                  <a:lnTo>
                    <a:pt x="154023" y="47659"/>
                  </a:lnTo>
                  <a:lnTo>
                    <a:pt x="152489" y="48068"/>
                  </a:lnTo>
                  <a:lnTo>
                    <a:pt x="152080" y="47864"/>
                  </a:lnTo>
                  <a:lnTo>
                    <a:pt x="151773" y="47864"/>
                  </a:lnTo>
                  <a:lnTo>
                    <a:pt x="151773" y="47761"/>
                  </a:lnTo>
                  <a:lnTo>
                    <a:pt x="151261" y="47557"/>
                  </a:lnTo>
                  <a:lnTo>
                    <a:pt x="150648" y="47761"/>
                  </a:lnTo>
                  <a:lnTo>
                    <a:pt x="150955" y="47557"/>
                  </a:lnTo>
                  <a:lnTo>
                    <a:pt x="150955" y="47557"/>
                  </a:lnTo>
                  <a:lnTo>
                    <a:pt x="149114" y="48170"/>
                  </a:lnTo>
                  <a:lnTo>
                    <a:pt x="146148" y="47659"/>
                  </a:lnTo>
                  <a:lnTo>
                    <a:pt x="145739" y="47148"/>
                  </a:lnTo>
                  <a:lnTo>
                    <a:pt x="144102" y="46739"/>
                  </a:lnTo>
                  <a:lnTo>
                    <a:pt x="144000" y="46432"/>
                  </a:lnTo>
                  <a:lnTo>
                    <a:pt x="143489" y="46227"/>
                  </a:lnTo>
                  <a:lnTo>
                    <a:pt x="141955" y="46534"/>
                  </a:lnTo>
                  <a:lnTo>
                    <a:pt x="141443" y="47250"/>
                  </a:lnTo>
                  <a:lnTo>
                    <a:pt x="141648" y="48170"/>
                  </a:lnTo>
                  <a:lnTo>
                    <a:pt x="140114" y="48580"/>
                  </a:lnTo>
                  <a:lnTo>
                    <a:pt x="133773" y="45818"/>
                  </a:lnTo>
                  <a:lnTo>
                    <a:pt x="133875" y="45818"/>
                  </a:lnTo>
                  <a:lnTo>
                    <a:pt x="132750" y="44898"/>
                  </a:lnTo>
                  <a:lnTo>
                    <a:pt x="133568" y="43670"/>
                  </a:lnTo>
                  <a:lnTo>
                    <a:pt x="133159" y="43057"/>
                  </a:lnTo>
                  <a:lnTo>
                    <a:pt x="133466" y="41932"/>
                  </a:lnTo>
                  <a:lnTo>
                    <a:pt x="132852" y="42136"/>
                  </a:lnTo>
                  <a:lnTo>
                    <a:pt x="132852" y="41830"/>
                  </a:lnTo>
                  <a:lnTo>
                    <a:pt x="132545" y="41727"/>
                  </a:lnTo>
                  <a:lnTo>
                    <a:pt x="132545" y="41625"/>
                  </a:lnTo>
                  <a:lnTo>
                    <a:pt x="130807" y="42136"/>
                  </a:lnTo>
                  <a:lnTo>
                    <a:pt x="130295" y="41830"/>
                  </a:lnTo>
                  <a:lnTo>
                    <a:pt x="122318" y="43977"/>
                  </a:lnTo>
                  <a:lnTo>
                    <a:pt x="121602" y="43670"/>
                  </a:lnTo>
                  <a:lnTo>
                    <a:pt x="120477" y="43875"/>
                  </a:lnTo>
                  <a:lnTo>
                    <a:pt x="119659" y="43057"/>
                  </a:lnTo>
                  <a:lnTo>
                    <a:pt x="115568" y="48477"/>
                  </a:lnTo>
                  <a:lnTo>
                    <a:pt x="115773" y="48784"/>
                  </a:lnTo>
                  <a:lnTo>
                    <a:pt x="114034" y="50932"/>
                  </a:lnTo>
                  <a:lnTo>
                    <a:pt x="112909" y="51239"/>
                  </a:lnTo>
                  <a:lnTo>
                    <a:pt x="109943" y="55739"/>
                  </a:lnTo>
                  <a:lnTo>
                    <a:pt x="109943" y="55739"/>
                  </a:lnTo>
                  <a:lnTo>
                    <a:pt x="110148" y="55534"/>
                  </a:lnTo>
                  <a:lnTo>
                    <a:pt x="110148" y="55534"/>
                  </a:lnTo>
                  <a:lnTo>
                    <a:pt x="108920" y="58602"/>
                  </a:lnTo>
                  <a:lnTo>
                    <a:pt x="109432" y="58807"/>
                  </a:lnTo>
                  <a:lnTo>
                    <a:pt x="109432" y="60034"/>
                  </a:lnTo>
                  <a:lnTo>
                    <a:pt x="109636" y="59932"/>
                  </a:lnTo>
                  <a:lnTo>
                    <a:pt x="109330" y="63716"/>
                  </a:lnTo>
                  <a:lnTo>
                    <a:pt x="108409" y="64841"/>
                  </a:lnTo>
                  <a:lnTo>
                    <a:pt x="109023" y="65659"/>
                  </a:lnTo>
                  <a:lnTo>
                    <a:pt x="109227" y="65557"/>
                  </a:lnTo>
                  <a:lnTo>
                    <a:pt x="109227" y="66170"/>
                  </a:lnTo>
                  <a:lnTo>
                    <a:pt x="110250" y="66170"/>
                  </a:lnTo>
                  <a:lnTo>
                    <a:pt x="109330" y="66375"/>
                  </a:lnTo>
                  <a:lnTo>
                    <a:pt x="109227" y="66273"/>
                  </a:lnTo>
                  <a:lnTo>
                    <a:pt x="109023" y="67091"/>
                  </a:lnTo>
                  <a:lnTo>
                    <a:pt x="109023" y="67091"/>
                  </a:lnTo>
                  <a:lnTo>
                    <a:pt x="109227" y="66989"/>
                  </a:lnTo>
                  <a:lnTo>
                    <a:pt x="109739" y="67909"/>
                  </a:lnTo>
                  <a:lnTo>
                    <a:pt x="110557" y="67705"/>
                  </a:lnTo>
                  <a:lnTo>
                    <a:pt x="110557" y="67705"/>
                  </a:lnTo>
                  <a:lnTo>
                    <a:pt x="110148" y="67909"/>
                  </a:lnTo>
                  <a:lnTo>
                    <a:pt x="110557" y="68114"/>
                  </a:lnTo>
                  <a:lnTo>
                    <a:pt x="110148" y="68318"/>
                  </a:lnTo>
                  <a:lnTo>
                    <a:pt x="110250" y="68318"/>
                  </a:lnTo>
                  <a:lnTo>
                    <a:pt x="110455" y="68523"/>
                  </a:lnTo>
                  <a:lnTo>
                    <a:pt x="110352" y="68727"/>
                  </a:lnTo>
                  <a:lnTo>
                    <a:pt x="110557" y="68625"/>
                  </a:lnTo>
                  <a:lnTo>
                    <a:pt x="110659" y="68932"/>
                  </a:lnTo>
                  <a:lnTo>
                    <a:pt x="110864" y="69034"/>
                  </a:lnTo>
                  <a:lnTo>
                    <a:pt x="110966" y="68932"/>
                  </a:lnTo>
                  <a:lnTo>
                    <a:pt x="111375" y="69648"/>
                  </a:lnTo>
                  <a:lnTo>
                    <a:pt x="111784" y="69852"/>
                  </a:lnTo>
                  <a:lnTo>
                    <a:pt x="111784" y="70261"/>
                  </a:lnTo>
                  <a:lnTo>
                    <a:pt x="112295" y="70875"/>
                  </a:lnTo>
                  <a:lnTo>
                    <a:pt x="112193" y="71182"/>
                  </a:lnTo>
                  <a:lnTo>
                    <a:pt x="112500" y="71182"/>
                  </a:lnTo>
                  <a:lnTo>
                    <a:pt x="112193" y="71284"/>
                  </a:lnTo>
                  <a:lnTo>
                    <a:pt x="117511" y="75477"/>
                  </a:lnTo>
                  <a:lnTo>
                    <a:pt x="119557" y="74761"/>
                  </a:lnTo>
                  <a:lnTo>
                    <a:pt x="119250" y="74761"/>
                  </a:lnTo>
                  <a:lnTo>
                    <a:pt x="120477" y="74659"/>
                  </a:lnTo>
                  <a:lnTo>
                    <a:pt x="119966" y="74659"/>
                  </a:lnTo>
                  <a:lnTo>
                    <a:pt x="121295" y="74557"/>
                  </a:lnTo>
                  <a:lnTo>
                    <a:pt x="121398" y="74761"/>
                  </a:lnTo>
                  <a:lnTo>
                    <a:pt x="127534" y="73227"/>
                  </a:lnTo>
                  <a:lnTo>
                    <a:pt x="127330" y="73432"/>
                  </a:lnTo>
                  <a:lnTo>
                    <a:pt x="129170" y="74455"/>
                  </a:lnTo>
                  <a:lnTo>
                    <a:pt x="129170" y="74761"/>
                  </a:lnTo>
                  <a:lnTo>
                    <a:pt x="129068" y="74761"/>
                  </a:lnTo>
                  <a:lnTo>
                    <a:pt x="129886" y="75477"/>
                  </a:lnTo>
                  <a:lnTo>
                    <a:pt x="130091" y="75477"/>
                  </a:lnTo>
                  <a:lnTo>
                    <a:pt x="130398" y="75580"/>
                  </a:lnTo>
                  <a:lnTo>
                    <a:pt x="130295" y="75170"/>
                  </a:lnTo>
                  <a:lnTo>
                    <a:pt x="130398" y="75477"/>
                  </a:lnTo>
                  <a:lnTo>
                    <a:pt x="130602" y="75170"/>
                  </a:lnTo>
                  <a:lnTo>
                    <a:pt x="131420" y="75375"/>
                  </a:lnTo>
                  <a:lnTo>
                    <a:pt x="131625" y="74966"/>
                  </a:lnTo>
                  <a:lnTo>
                    <a:pt x="132341" y="75784"/>
                  </a:lnTo>
                  <a:lnTo>
                    <a:pt x="132955" y="75886"/>
                  </a:lnTo>
                  <a:lnTo>
                    <a:pt x="132852" y="79466"/>
                  </a:lnTo>
                  <a:lnTo>
                    <a:pt x="132648" y="79568"/>
                  </a:lnTo>
                  <a:lnTo>
                    <a:pt x="133261" y="79875"/>
                  </a:lnTo>
                  <a:lnTo>
                    <a:pt x="133057" y="79977"/>
                  </a:lnTo>
                  <a:lnTo>
                    <a:pt x="132648" y="79670"/>
                  </a:lnTo>
                  <a:lnTo>
                    <a:pt x="132443" y="80591"/>
                  </a:lnTo>
                  <a:lnTo>
                    <a:pt x="132034" y="80693"/>
                  </a:lnTo>
                  <a:lnTo>
                    <a:pt x="132852" y="81716"/>
                  </a:lnTo>
                  <a:lnTo>
                    <a:pt x="132852" y="81716"/>
                  </a:lnTo>
                  <a:lnTo>
                    <a:pt x="132341" y="81409"/>
                  </a:lnTo>
                  <a:lnTo>
                    <a:pt x="132750" y="82023"/>
                  </a:lnTo>
                  <a:lnTo>
                    <a:pt x="132648" y="82023"/>
                  </a:lnTo>
                  <a:lnTo>
                    <a:pt x="133261" y="82636"/>
                  </a:lnTo>
                  <a:lnTo>
                    <a:pt x="132955" y="82534"/>
                  </a:lnTo>
                  <a:lnTo>
                    <a:pt x="135205" y="85909"/>
                  </a:lnTo>
                  <a:lnTo>
                    <a:pt x="136023" y="86114"/>
                  </a:lnTo>
                  <a:lnTo>
                    <a:pt x="135307" y="86318"/>
                  </a:lnTo>
                  <a:lnTo>
                    <a:pt x="135920" y="89284"/>
                  </a:lnTo>
                  <a:lnTo>
                    <a:pt x="136023" y="89182"/>
                  </a:lnTo>
                  <a:lnTo>
                    <a:pt x="136432" y="92557"/>
                  </a:lnTo>
                  <a:lnTo>
                    <a:pt x="134795" y="96648"/>
                  </a:lnTo>
                  <a:lnTo>
                    <a:pt x="137045" y="103602"/>
                  </a:lnTo>
                  <a:lnTo>
                    <a:pt x="136943" y="103602"/>
                  </a:lnTo>
                  <a:lnTo>
                    <a:pt x="140011" y="115364"/>
                  </a:lnTo>
                  <a:lnTo>
                    <a:pt x="146148" y="114955"/>
                  </a:lnTo>
                  <a:lnTo>
                    <a:pt x="146557" y="114648"/>
                  </a:lnTo>
                  <a:lnTo>
                    <a:pt x="147068" y="114648"/>
                  </a:lnTo>
                  <a:lnTo>
                    <a:pt x="152693" y="109125"/>
                  </a:lnTo>
                  <a:lnTo>
                    <a:pt x="153205" y="106977"/>
                  </a:lnTo>
                  <a:lnTo>
                    <a:pt x="153102" y="107080"/>
                  </a:lnTo>
                  <a:lnTo>
                    <a:pt x="153205" y="106875"/>
                  </a:lnTo>
                  <a:lnTo>
                    <a:pt x="153205" y="106977"/>
                  </a:lnTo>
                  <a:lnTo>
                    <a:pt x="155659" y="104523"/>
                  </a:lnTo>
                  <a:lnTo>
                    <a:pt x="155659" y="102784"/>
                  </a:lnTo>
                  <a:lnTo>
                    <a:pt x="155557" y="103091"/>
                  </a:lnTo>
                  <a:lnTo>
                    <a:pt x="155045" y="100330"/>
                  </a:lnTo>
                  <a:lnTo>
                    <a:pt x="160670" y="95932"/>
                  </a:lnTo>
                  <a:lnTo>
                    <a:pt x="160875" y="91125"/>
                  </a:lnTo>
                  <a:lnTo>
                    <a:pt x="160057" y="90307"/>
                  </a:lnTo>
                  <a:lnTo>
                    <a:pt x="159955" y="87136"/>
                  </a:lnTo>
                  <a:lnTo>
                    <a:pt x="159341" y="86523"/>
                  </a:lnTo>
                  <a:lnTo>
                    <a:pt x="161284" y="82125"/>
                  </a:lnTo>
                  <a:lnTo>
                    <a:pt x="161693" y="82023"/>
                  </a:lnTo>
                  <a:lnTo>
                    <a:pt x="170591" y="69341"/>
                  </a:lnTo>
                  <a:lnTo>
                    <a:pt x="170386" y="69136"/>
                  </a:lnTo>
                  <a:lnTo>
                    <a:pt x="170284" y="69341"/>
                  </a:lnTo>
                  <a:lnTo>
                    <a:pt x="170182" y="67807"/>
                  </a:lnTo>
                  <a:lnTo>
                    <a:pt x="164557" y="69341"/>
                  </a:lnTo>
                  <a:lnTo>
                    <a:pt x="162511" y="68114"/>
                  </a:lnTo>
                  <a:lnTo>
                    <a:pt x="163330" y="67602"/>
                  </a:lnTo>
                  <a:lnTo>
                    <a:pt x="162920" y="66784"/>
                  </a:lnTo>
                  <a:lnTo>
                    <a:pt x="162920" y="66886"/>
                  </a:lnTo>
                  <a:lnTo>
                    <a:pt x="159955" y="64125"/>
                  </a:lnTo>
                  <a:lnTo>
                    <a:pt x="159955" y="64534"/>
                  </a:lnTo>
                  <a:lnTo>
                    <a:pt x="157193" y="58295"/>
                  </a:lnTo>
                  <a:lnTo>
                    <a:pt x="157193" y="58295"/>
                  </a:lnTo>
                  <a:lnTo>
                    <a:pt x="157295" y="58398"/>
                  </a:lnTo>
                  <a:lnTo>
                    <a:pt x="156375" y="56761"/>
                  </a:lnTo>
                  <a:lnTo>
                    <a:pt x="155966" y="56557"/>
                  </a:lnTo>
                  <a:lnTo>
                    <a:pt x="155659" y="56148"/>
                  </a:lnTo>
                  <a:lnTo>
                    <a:pt x="155864" y="55432"/>
                  </a:lnTo>
                  <a:lnTo>
                    <a:pt x="152591" y="49193"/>
                  </a:lnTo>
                  <a:lnTo>
                    <a:pt x="152591" y="49193"/>
                  </a:lnTo>
                  <a:lnTo>
                    <a:pt x="153716" y="51136"/>
                  </a:lnTo>
                  <a:lnTo>
                    <a:pt x="154330" y="50830"/>
                  </a:lnTo>
                  <a:lnTo>
                    <a:pt x="154739" y="49602"/>
                  </a:lnTo>
                  <a:lnTo>
                    <a:pt x="154534" y="51136"/>
                  </a:lnTo>
                  <a:lnTo>
                    <a:pt x="158727" y="56557"/>
                  </a:lnTo>
                  <a:lnTo>
                    <a:pt x="158625" y="56557"/>
                  </a:lnTo>
                  <a:lnTo>
                    <a:pt x="162614" y="64330"/>
                  </a:lnTo>
                  <a:lnTo>
                    <a:pt x="162511" y="64227"/>
                  </a:lnTo>
                  <a:lnTo>
                    <a:pt x="162511" y="64227"/>
                  </a:lnTo>
                  <a:lnTo>
                    <a:pt x="163330" y="66989"/>
                  </a:lnTo>
                  <a:lnTo>
                    <a:pt x="171102" y="63818"/>
                  </a:lnTo>
                  <a:lnTo>
                    <a:pt x="171102" y="63409"/>
                  </a:lnTo>
                  <a:lnTo>
                    <a:pt x="173557" y="62489"/>
                  </a:lnTo>
                  <a:lnTo>
                    <a:pt x="173659" y="61977"/>
                  </a:lnTo>
                  <a:lnTo>
                    <a:pt x="174580" y="61568"/>
                  </a:lnTo>
                  <a:lnTo>
                    <a:pt x="174989" y="60750"/>
                  </a:lnTo>
                  <a:lnTo>
                    <a:pt x="175807" y="60443"/>
                  </a:lnTo>
                  <a:lnTo>
                    <a:pt x="175705" y="59625"/>
                  </a:lnTo>
                  <a:lnTo>
                    <a:pt x="176114" y="58807"/>
                  </a:lnTo>
                  <a:lnTo>
                    <a:pt x="176216" y="59114"/>
                  </a:lnTo>
                  <a:lnTo>
                    <a:pt x="177341" y="57170"/>
                  </a:lnTo>
                  <a:lnTo>
                    <a:pt x="174273" y="54920"/>
                  </a:lnTo>
                  <a:lnTo>
                    <a:pt x="173864" y="52977"/>
                  </a:lnTo>
                  <a:lnTo>
                    <a:pt x="172330" y="55023"/>
                  </a:lnTo>
                  <a:lnTo>
                    <a:pt x="170080" y="55330"/>
                  </a:lnTo>
                  <a:lnTo>
                    <a:pt x="169875" y="55023"/>
                  </a:lnTo>
                  <a:lnTo>
                    <a:pt x="169568" y="55023"/>
                  </a:lnTo>
                  <a:lnTo>
                    <a:pt x="169670" y="54818"/>
                  </a:lnTo>
                  <a:lnTo>
                    <a:pt x="169466" y="54716"/>
                  </a:lnTo>
                  <a:lnTo>
                    <a:pt x="169670" y="54000"/>
                  </a:lnTo>
                  <a:lnTo>
                    <a:pt x="169466" y="53284"/>
                  </a:lnTo>
                  <a:lnTo>
                    <a:pt x="169057" y="53795"/>
                  </a:lnTo>
                  <a:lnTo>
                    <a:pt x="169057" y="54511"/>
                  </a:lnTo>
                  <a:lnTo>
                    <a:pt x="168239" y="53182"/>
                  </a:lnTo>
                  <a:lnTo>
                    <a:pt x="168341" y="53182"/>
                  </a:lnTo>
                  <a:lnTo>
                    <a:pt x="168239" y="52568"/>
                  </a:lnTo>
                  <a:lnTo>
                    <a:pt x="168341" y="52568"/>
                  </a:lnTo>
                  <a:lnTo>
                    <a:pt x="165886" y="49807"/>
                  </a:lnTo>
                  <a:lnTo>
                    <a:pt x="166193" y="49602"/>
                  </a:lnTo>
                  <a:lnTo>
                    <a:pt x="165989" y="49193"/>
                  </a:lnTo>
                  <a:lnTo>
                    <a:pt x="166398" y="49295"/>
                  </a:lnTo>
                  <a:lnTo>
                    <a:pt x="166807" y="48682"/>
                  </a:lnTo>
                  <a:lnTo>
                    <a:pt x="166807" y="48784"/>
                  </a:lnTo>
                  <a:lnTo>
                    <a:pt x="171409" y="52568"/>
                  </a:lnTo>
                  <a:lnTo>
                    <a:pt x="172943" y="52466"/>
                  </a:lnTo>
                  <a:lnTo>
                    <a:pt x="173557" y="52057"/>
                  </a:lnTo>
                  <a:lnTo>
                    <a:pt x="174273" y="52364"/>
                  </a:lnTo>
                  <a:lnTo>
                    <a:pt x="174580" y="53182"/>
                  </a:lnTo>
                  <a:lnTo>
                    <a:pt x="177545" y="54000"/>
                  </a:lnTo>
                  <a:lnTo>
                    <a:pt x="177648" y="53898"/>
                  </a:lnTo>
                  <a:lnTo>
                    <a:pt x="177750" y="54000"/>
                  </a:lnTo>
                  <a:lnTo>
                    <a:pt x="182761" y="53898"/>
                  </a:lnTo>
                  <a:lnTo>
                    <a:pt x="182557" y="53795"/>
                  </a:lnTo>
                  <a:lnTo>
                    <a:pt x="182557" y="53795"/>
                  </a:lnTo>
                  <a:lnTo>
                    <a:pt x="182864" y="53898"/>
                  </a:lnTo>
                  <a:lnTo>
                    <a:pt x="182966" y="53898"/>
                  </a:lnTo>
                  <a:lnTo>
                    <a:pt x="184091" y="55432"/>
                  </a:lnTo>
                  <a:lnTo>
                    <a:pt x="184500" y="55636"/>
                  </a:lnTo>
                  <a:lnTo>
                    <a:pt x="184500" y="55534"/>
                  </a:lnTo>
                  <a:lnTo>
                    <a:pt x="185114" y="55534"/>
                  </a:lnTo>
                  <a:lnTo>
                    <a:pt x="184909" y="56045"/>
                  </a:lnTo>
                  <a:lnTo>
                    <a:pt x="185727" y="56557"/>
                  </a:lnTo>
                  <a:lnTo>
                    <a:pt x="186750" y="56250"/>
                  </a:lnTo>
                  <a:lnTo>
                    <a:pt x="185727" y="57068"/>
                  </a:lnTo>
                  <a:lnTo>
                    <a:pt x="185420" y="57068"/>
                  </a:lnTo>
                  <a:lnTo>
                    <a:pt x="187568" y="58602"/>
                  </a:lnTo>
                  <a:lnTo>
                    <a:pt x="188386" y="58193"/>
                  </a:lnTo>
                  <a:lnTo>
                    <a:pt x="188284" y="57170"/>
                  </a:lnTo>
                  <a:lnTo>
                    <a:pt x="188898" y="57170"/>
                  </a:lnTo>
                  <a:lnTo>
                    <a:pt x="188693" y="57682"/>
                  </a:lnTo>
                  <a:lnTo>
                    <a:pt x="189205" y="57682"/>
                  </a:lnTo>
                  <a:lnTo>
                    <a:pt x="188795" y="57989"/>
                  </a:lnTo>
                  <a:lnTo>
                    <a:pt x="188898" y="57989"/>
                  </a:lnTo>
                  <a:lnTo>
                    <a:pt x="189307" y="60239"/>
                  </a:lnTo>
                  <a:lnTo>
                    <a:pt x="189205" y="60239"/>
                  </a:lnTo>
                  <a:lnTo>
                    <a:pt x="189205" y="60545"/>
                  </a:lnTo>
                  <a:lnTo>
                    <a:pt x="189307" y="60341"/>
                  </a:lnTo>
                  <a:lnTo>
                    <a:pt x="190636" y="64227"/>
                  </a:lnTo>
                  <a:lnTo>
                    <a:pt x="190534" y="64227"/>
                  </a:lnTo>
                  <a:lnTo>
                    <a:pt x="193160" y="69965"/>
                  </a:lnTo>
                  <a:lnTo>
                    <a:pt x="194216" y="71693"/>
                  </a:lnTo>
                  <a:lnTo>
                    <a:pt x="195955" y="70568"/>
                  </a:lnTo>
                  <a:lnTo>
                    <a:pt x="195545" y="70261"/>
                  </a:lnTo>
                  <a:lnTo>
                    <a:pt x="195852" y="69443"/>
                  </a:lnTo>
                  <a:lnTo>
                    <a:pt x="196364" y="69239"/>
                  </a:lnTo>
                  <a:lnTo>
                    <a:pt x="196568" y="66375"/>
                  </a:lnTo>
                  <a:lnTo>
                    <a:pt x="196466" y="66170"/>
                  </a:lnTo>
                  <a:lnTo>
                    <a:pt x="196261" y="63920"/>
                  </a:lnTo>
                  <a:lnTo>
                    <a:pt x="196875" y="63818"/>
                  </a:lnTo>
                  <a:lnTo>
                    <a:pt x="200455" y="59830"/>
                  </a:lnTo>
                  <a:lnTo>
                    <a:pt x="200250" y="59932"/>
                  </a:lnTo>
                  <a:lnTo>
                    <a:pt x="200250" y="59932"/>
                  </a:lnTo>
                  <a:lnTo>
                    <a:pt x="201580" y="58705"/>
                  </a:lnTo>
                  <a:lnTo>
                    <a:pt x="201477" y="58091"/>
                  </a:lnTo>
                  <a:lnTo>
                    <a:pt x="202398" y="57580"/>
                  </a:lnTo>
                  <a:lnTo>
                    <a:pt x="202295" y="57068"/>
                  </a:lnTo>
                  <a:lnTo>
                    <a:pt x="202500" y="57580"/>
                  </a:lnTo>
                  <a:lnTo>
                    <a:pt x="202705" y="57682"/>
                  </a:lnTo>
                  <a:lnTo>
                    <a:pt x="202909" y="57273"/>
                  </a:lnTo>
                  <a:lnTo>
                    <a:pt x="203114" y="57886"/>
                  </a:lnTo>
                  <a:lnTo>
                    <a:pt x="203216" y="57682"/>
                  </a:lnTo>
                  <a:lnTo>
                    <a:pt x="203420" y="57784"/>
                  </a:lnTo>
                  <a:lnTo>
                    <a:pt x="203420" y="57784"/>
                  </a:lnTo>
                  <a:lnTo>
                    <a:pt x="203216" y="57477"/>
                  </a:lnTo>
                  <a:lnTo>
                    <a:pt x="203318" y="57273"/>
                  </a:lnTo>
                  <a:lnTo>
                    <a:pt x="203625" y="57682"/>
                  </a:lnTo>
                  <a:lnTo>
                    <a:pt x="203625" y="57170"/>
                  </a:lnTo>
                  <a:lnTo>
                    <a:pt x="203830" y="57682"/>
                  </a:lnTo>
                  <a:lnTo>
                    <a:pt x="204136" y="56966"/>
                  </a:lnTo>
                  <a:lnTo>
                    <a:pt x="204136" y="57375"/>
                  </a:lnTo>
                  <a:lnTo>
                    <a:pt x="204341" y="57273"/>
                  </a:lnTo>
                  <a:lnTo>
                    <a:pt x="204341" y="57580"/>
                  </a:lnTo>
                  <a:lnTo>
                    <a:pt x="204648" y="57170"/>
                  </a:lnTo>
                  <a:lnTo>
                    <a:pt x="204545" y="56250"/>
                  </a:lnTo>
                  <a:lnTo>
                    <a:pt x="204239" y="55943"/>
                  </a:lnTo>
                  <a:lnTo>
                    <a:pt x="204443" y="55943"/>
                  </a:lnTo>
                  <a:lnTo>
                    <a:pt x="204443" y="55739"/>
                  </a:lnTo>
                  <a:lnTo>
                    <a:pt x="205773" y="57068"/>
                  </a:lnTo>
                  <a:lnTo>
                    <a:pt x="206795" y="59216"/>
                  </a:lnTo>
                  <a:lnTo>
                    <a:pt x="206795" y="58909"/>
                  </a:lnTo>
                  <a:lnTo>
                    <a:pt x="207102" y="59011"/>
                  </a:lnTo>
                  <a:lnTo>
                    <a:pt x="207307" y="59625"/>
                  </a:lnTo>
                  <a:lnTo>
                    <a:pt x="207307" y="59420"/>
                  </a:lnTo>
                  <a:lnTo>
                    <a:pt x="207818" y="59523"/>
                  </a:lnTo>
                  <a:lnTo>
                    <a:pt x="208125" y="60136"/>
                  </a:lnTo>
                  <a:lnTo>
                    <a:pt x="207716" y="60136"/>
                  </a:lnTo>
                  <a:lnTo>
                    <a:pt x="208125" y="60648"/>
                  </a:lnTo>
                  <a:lnTo>
                    <a:pt x="208125" y="60239"/>
                  </a:lnTo>
                  <a:lnTo>
                    <a:pt x="208432" y="60750"/>
                  </a:lnTo>
                  <a:lnTo>
                    <a:pt x="208330" y="60750"/>
                  </a:lnTo>
                  <a:lnTo>
                    <a:pt x="208739" y="63614"/>
                  </a:lnTo>
                  <a:lnTo>
                    <a:pt x="209148" y="63102"/>
                  </a:lnTo>
                  <a:lnTo>
                    <a:pt x="209148" y="63716"/>
                  </a:lnTo>
                  <a:lnTo>
                    <a:pt x="209352" y="63409"/>
                  </a:lnTo>
                  <a:lnTo>
                    <a:pt x="210170" y="63409"/>
                  </a:lnTo>
                  <a:lnTo>
                    <a:pt x="210477" y="63205"/>
                  </a:lnTo>
                  <a:lnTo>
                    <a:pt x="210477" y="62795"/>
                  </a:lnTo>
                  <a:lnTo>
                    <a:pt x="210886" y="62898"/>
                  </a:lnTo>
                  <a:lnTo>
                    <a:pt x="210989" y="62182"/>
                  </a:lnTo>
                  <a:lnTo>
                    <a:pt x="211807" y="63000"/>
                  </a:lnTo>
                  <a:lnTo>
                    <a:pt x="212318" y="64943"/>
                  </a:lnTo>
                  <a:lnTo>
                    <a:pt x="212216" y="64943"/>
                  </a:lnTo>
                  <a:lnTo>
                    <a:pt x="212523" y="65966"/>
                  </a:lnTo>
                  <a:lnTo>
                    <a:pt x="212625" y="65659"/>
                  </a:lnTo>
                  <a:lnTo>
                    <a:pt x="213239" y="69750"/>
                  </a:lnTo>
                  <a:lnTo>
                    <a:pt x="213341" y="69545"/>
                  </a:lnTo>
                  <a:lnTo>
                    <a:pt x="213136" y="71386"/>
                  </a:lnTo>
                  <a:lnTo>
                    <a:pt x="218045" y="78545"/>
                  </a:lnTo>
                  <a:lnTo>
                    <a:pt x="218455" y="78545"/>
                  </a:lnTo>
                  <a:lnTo>
                    <a:pt x="218557" y="78341"/>
                  </a:lnTo>
                  <a:lnTo>
                    <a:pt x="218864" y="78341"/>
                  </a:lnTo>
                  <a:lnTo>
                    <a:pt x="217739" y="74659"/>
                  </a:lnTo>
                  <a:lnTo>
                    <a:pt x="215182" y="72307"/>
                  </a:lnTo>
                  <a:lnTo>
                    <a:pt x="215284" y="72614"/>
                  </a:lnTo>
                  <a:lnTo>
                    <a:pt x="214875" y="72102"/>
                  </a:lnTo>
                  <a:lnTo>
                    <a:pt x="215182" y="72307"/>
                  </a:lnTo>
                  <a:lnTo>
                    <a:pt x="214875" y="71284"/>
                  </a:lnTo>
                  <a:lnTo>
                    <a:pt x="214773" y="71386"/>
                  </a:lnTo>
                  <a:lnTo>
                    <a:pt x="213852" y="69852"/>
                  </a:lnTo>
                  <a:lnTo>
                    <a:pt x="214364" y="66580"/>
                  </a:lnTo>
                  <a:lnTo>
                    <a:pt x="214261" y="66375"/>
                  </a:lnTo>
                  <a:lnTo>
                    <a:pt x="215080" y="66273"/>
                  </a:lnTo>
                  <a:lnTo>
                    <a:pt x="215080" y="66784"/>
                  </a:lnTo>
                  <a:lnTo>
                    <a:pt x="216409" y="67398"/>
                  </a:lnTo>
                  <a:lnTo>
                    <a:pt x="216409" y="67295"/>
                  </a:lnTo>
                  <a:lnTo>
                    <a:pt x="216716" y="67602"/>
                  </a:lnTo>
                  <a:lnTo>
                    <a:pt x="216716" y="67500"/>
                  </a:lnTo>
                  <a:lnTo>
                    <a:pt x="217023" y="68011"/>
                  </a:lnTo>
                  <a:lnTo>
                    <a:pt x="217125" y="67909"/>
                  </a:lnTo>
                  <a:lnTo>
                    <a:pt x="217330" y="68625"/>
                  </a:lnTo>
                  <a:lnTo>
                    <a:pt x="217636" y="68625"/>
                  </a:lnTo>
                  <a:lnTo>
                    <a:pt x="217739" y="69034"/>
                  </a:lnTo>
                  <a:lnTo>
                    <a:pt x="219068" y="69648"/>
                  </a:lnTo>
                  <a:lnTo>
                    <a:pt x="218966" y="71182"/>
                  </a:lnTo>
                  <a:lnTo>
                    <a:pt x="218966" y="71182"/>
                  </a:lnTo>
                  <a:lnTo>
                    <a:pt x="219886" y="70568"/>
                  </a:lnTo>
                  <a:lnTo>
                    <a:pt x="219886" y="69750"/>
                  </a:lnTo>
                  <a:lnTo>
                    <a:pt x="220500" y="70159"/>
                  </a:lnTo>
                  <a:lnTo>
                    <a:pt x="220091" y="69545"/>
                  </a:lnTo>
                  <a:lnTo>
                    <a:pt x="220602" y="69852"/>
                  </a:lnTo>
                  <a:lnTo>
                    <a:pt x="220398" y="69443"/>
                  </a:lnTo>
                  <a:lnTo>
                    <a:pt x="222545" y="68318"/>
                  </a:lnTo>
                  <a:lnTo>
                    <a:pt x="222737" y="67743"/>
                  </a:lnTo>
                  <a:lnTo>
                    <a:pt x="222648" y="67295"/>
                  </a:lnTo>
                  <a:lnTo>
                    <a:pt x="222750" y="67295"/>
                  </a:lnTo>
                  <a:lnTo>
                    <a:pt x="222750" y="66886"/>
                  </a:lnTo>
                  <a:lnTo>
                    <a:pt x="222852" y="67091"/>
                  </a:lnTo>
                  <a:lnTo>
                    <a:pt x="222545" y="65864"/>
                  </a:lnTo>
                  <a:lnTo>
                    <a:pt x="219375" y="61773"/>
                  </a:lnTo>
                  <a:lnTo>
                    <a:pt x="219477" y="61773"/>
                  </a:lnTo>
                  <a:lnTo>
                    <a:pt x="218659" y="60239"/>
                  </a:lnTo>
                  <a:lnTo>
                    <a:pt x="219170" y="58398"/>
                  </a:lnTo>
                  <a:lnTo>
                    <a:pt x="219682" y="58500"/>
                  </a:lnTo>
                  <a:lnTo>
                    <a:pt x="220602" y="57477"/>
                  </a:lnTo>
                  <a:lnTo>
                    <a:pt x="221216" y="57989"/>
                  </a:lnTo>
                  <a:lnTo>
                    <a:pt x="221625" y="57682"/>
                  </a:lnTo>
                  <a:lnTo>
                    <a:pt x="221830" y="57886"/>
                  </a:lnTo>
                  <a:lnTo>
                    <a:pt x="221830" y="58500"/>
                  </a:lnTo>
                  <a:lnTo>
                    <a:pt x="222239" y="59011"/>
                  </a:lnTo>
                  <a:lnTo>
                    <a:pt x="222136" y="59011"/>
                  </a:lnTo>
                  <a:lnTo>
                    <a:pt x="222545" y="59114"/>
                  </a:lnTo>
                  <a:lnTo>
                    <a:pt x="222239" y="58500"/>
                  </a:lnTo>
                  <a:lnTo>
                    <a:pt x="222443" y="58091"/>
                  </a:lnTo>
                  <a:lnTo>
                    <a:pt x="224080" y="57477"/>
                  </a:lnTo>
                  <a:lnTo>
                    <a:pt x="224591" y="57477"/>
                  </a:lnTo>
                  <a:lnTo>
                    <a:pt x="224693" y="57170"/>
                  </a:lnTo>
                  <a:lnTo>
                    <a:pt x="225102" y="57068"/>
                  </a:lnTo>
                  <a:lnTo>
                    <a:pt x="224795" y="56455"/>
                  </a:lnTo>
                  <a:lnTo>
                    <a:pt x="225000" y="56250"/>
                  </a:lnTo>
                  <a:lnTo>
                    <a:pt x="225716" y="57068"/>
                  </a:lnTo>
                  <a:lnTo>
                    <a:pt x="226023" y="56659"/>
                  </a:lnTo>
                  <a:lnTo>
                    <a:pt x="226125" y="56761"/>
                  </a:lnTo>
                  <a:lnTo>
                    <a:pt x="226534" y="56659"/>
                  </a:lnTo>
                  <a:lnTo>
                    <a:pt x="226739" y="56659"/>
                  </a:lnTo>
                  <a:lnTo>
                    <a:pt x="226739" y="56557"/>
                  </a:lnTo>
                  <a:lnTo>
                    <a:pt x="227352" y="56455"/>
                  </a:lnTo>
                  <a:lnTo>
                    <a:pt x="227761" y="55739"/>
                  </a:lnTo>
                  <a:lnTo>
                    <a:pt x="228170" y="55739"/>
                  </a:lnTo>
                  <a:lnTo>
                    <a:pt x="228375" y="55534"/>
                  </a:lnTo>
                  <a:lnTo>
                    <a:pt x="228477" y="54920"/>
                  </a:lnTo>
                  <a:lnTo>
                    <a:pt x="229807" y="54000"/>
                  </a:lnTo>
                  <a:lnTo>
                    <a:pt x="229705" y="53386"/>
                  </a:lnTo>
                  <a:lnTo>
                    <a:pt x="229193" y="53182"/>
                  </a:lnTo>
                  <a:lnTo>
                    <a:pt x="229807" y="52977"/>
                  </a:lnTo>
                  <a:lnTo>
                    <a:pt x="229398" y="52466"/>
                  </a:lnTo>
                  <a:lnTo>
                    <a:pt x="229602" y="52466"/>
                  </a:lnTo>
                  <a:lnTo>
                    <a:pt x="229807" y="52670"/>
                  </a:lnTo>
                  <a:lnTo>
                    <a:pt x="230318" y="50932"/>
                  </a:lnTo>
                  <a:lnTo>
                    <a:pt x="230727" y="50932"/>
                  </a:lnTo>
                  <a:lnTo>
                    <a:pt x="230523" y="50318"/>
                  </a:lnTo>
                  <a:lnTo>
                    <a:pt x="230625" y="50318"/>
                  </a:lnTo>
                  <a:lnTo>
                    <a:pt x="230318" y="50114"/>
                  </a:lnTo>
                  <a:lnTo>
                    <a:pt x="230727" y="50114"/>
                  </a:lnTo>
                  <a:lnTo>
                    <a:pt x="230625" y="49602"/>
                  </a:lnTo>
                  <a:lnTo>
                    <a:pt x="230318" y="49705"/>
                  </a:lnTo>
                  <a:lnTo>
                    <a:pt x="230625" y="49295"/>
                  </a:lnTo>
                  <a:lnTo>
                    <a:pt x="229807" y="48886"/>
                  </a:lnTo>
                  <a:lnTo>
                    <a:pt x="229295" y="49091"/>
                  </a:lnTo>
                  <a:lnTo>
                    <a:pt x="228886" y="48989"/>
                  </a:lnTo>
                  <a:lnTo>
                    <a:pt x="230011" y="48273"/>
                  </a:lnTo>
                  <a:lnTo>
                    <a:pt x="229909" y="47966"/>
                  </a:lnTo>
                  <a:lnTo>
                    <a:pt x="228682" y="47148"/>
                  </a:lnTo>
                  <a:lnTo>
                    <a:pt x="228170" y="47250"/>
                  </a:lnTo>
                  <a:lnTo>
                    <a:pt x="228477" y="47045"/>
                  </a:lnTo>
                  <a:lnTo>
                    <a:pt x="229807" y="47455"/>
                  </a:lnTo>
                  <a:lnTo>
                    <a:pt x="226227" y="44080"/>
                  </a:lnTo>
                  <a:lnTo>
                    <a:pt x="226739" y="43057"/>
                  </a:lnTo>
                  <a:lnTo>
                    <a:pt x="226534" y="42750"/>
                  </a:lnTo>
                  <a:lnTo>
                    <a:pt x="226534" y="42750"/>
                  </a:lnTo>
                  <a:lnTo>
                    <a:pt x="226739" y="42955"/>
                  </a:lnTo>
                  <a:lnTo>
                    <a:pt x="227045" y="42545"/>
                  </a:lnTo>
                  <a:lnTo>
                    <a:pt x="226943" y="42341"/>
                  </a:lnTo>
                  <a:lnTo>
                    <a:pt x="228170" y="41932"/>
                  </a:lnTo>
                  <a:lnTo>
                    <a:pt x="228170" y="41523"/>
                  </a:lnTo>
                  <a:lnTo>
                    <a:pt x="225920" y="41216"/>
                  </a:lnTo>
                  <a:lnTo>
                    <a:pt x="225511" y="41830"/>
                  </a:lnTo>
                  <a:lnTo>
                    <a:pt x="225000" y="41625"/>
                  </a:lnTo>
                  <a:lnTo>
                    <a:pt x="224898" y="41216"/>
                  </a:lnTo>
                  <a:lnTo>
                    <a:pt x="223159" y="39989"/>
                  </a:lnTo>
                  <a:lnTo>
                    <a:pt x="224182" y="39580"/>
                  </a:lnTo>
                  <a:lnTo>
                    <a:pt x="224284" y="38966"/>
                  </a:lnTo>
                  <a:lnTo>
                    <a:pt x="224898" y="38659"/>
                  </a:lnTo>
                  <a:lnTo>
                    <a:pt x="225000" y="38250"/>
                  </a:lnTo>
                  <a:lnTo>
                    <a:pt x="225614" y="37943"/>
                  </a:lnTo>
                  <a:lnTo>
                    <a:pt x="226227" y="38557"/>
                  </a:lnTo>
                  <a:lnTo>
                    <a:pt x="226023" y="39477"/>
                  </a:lnTo>
                  <a:lnTo>
                    <a:pt x="226432" y="39477"/>
                  </a:lnTo>
                  <a:lnTo>
                    <a:pt x="226432" y="39784"/>
                  </a:lnTo>
                  <a:lnTo>
                    <a:pt x="226125" y="39989"/>
                  </a:lnTo>
                  <a:lnTo>
                    <a:pt x="226534" y="39989"/>
                  </a:lnTo>
                  <a:lnTo>
                    <a:pt x="226636" y="39886"/>
                  </a:lnTo>
                  <a:lnTo>
                    <a:pt x="228273" y="38864"/>
                  </a:lnTo>
                  <a:lnTo>
                    <a:pt x="228682" y="39273"/>
                  </a:lnTo>
                  <a:lnTo>
                    <a:pt x="228784" y="39068"/>
                  </a:lnTo>
                  <a:lnTo>
                    <a:pt x="229500" y="39580"/>
                  </a:lnTo>
                  <a:lnTo>
                    <a:pt x="229602" y="40091"/>
                  </a:lnTo>
                  <a:lnTo>
                    <a:pt x="229909" y="40193"/>
                  </a:lnTo>
                  <a:lnTo>
                    <a:pt x="229500" y="40807"/>
                  </a:lnTo>
                  <a:lnTo>
                    <a:pt x="230011" y="40807"/>
                  </a:lnTo>
                  <a:lnTo>
                    <a:pt x="229807" y="41011"/>
                  </a:lnTo>
                  <a:lnTo>
                    <a:pt x="230114" y="41114"/>
                  </a:lnTo>
                  <a:lnTo>
                    <a:pt x="230216" y="41216"/>
                  </a:lnTo>
                  <a:lnTo>
                    <a:pt x="230420" y="41114"/>
                  </a:lnTo>
                  <a:lnTo>
                    <a:pt x="230523" y="40909"/>
                  </a:lnTo>
                  <a:lnTo>
                    <a:pt x="231955" y="42136"/>
                  </a:lnTo>
                  <a:lnTo>
                    <a:pt x="231341" y="42136"/>
                  </a:lnTo>
                  <a:lnTo>
                    <a:pt x="232670" y="44182"/>
                  </a:lnTo>
                  <a:lnTo>
                    <a:pt x="232568" y="44284"/>
                  </a:lnTo>
                  <a:lnTo>
                    <a:pt x="232670" y="44386"/>
                  </a:lnTo>
                  <a:lnTo>
                    <a:pt x="232466" y="44386"/>
                  </a:lnTo>
                  <a:lnTo>
                    <a:pt x="232875" y="44795"/>
                  </a:lnTo>
                  <a:lnTo>
                    <a:pt x="233080" y="44591"/>
                  </a:lnTo>
                  <a:lnTo>
                    <a:pt x="233182" y="44284"/>
                  </a:lnTo>
                  <a:lnTo>
                    <a:pt x="233489" y="44489"/>
                  </a:lnTo>
                  <a:lnTo>
                    <a:pt x="233386" y="44284"/>
                  </a:lnTo>
                  <a:lnTo>
                    <a:pt x="233591" y="44284"/>
                  </a:lnTo>
                  <a:lnTo>
                    <a:pt x="233693" y="44080"/>
                  </a:lnTo>
                  <a:lnTo>
                    <a:pt x="234205" y="44182"/>
                  </a:lnTo>
                  <a:lnTo>
                    <a:pt x="234614" y="43875"/>
                  </a:lnTo>
                  <a:lnTo>
                    <a:pt x="234614" y="42955"/>
                  </a:lnTo>
                  <a:lnTo>
                    <a:pt x="231034" y="39170"/>
                  </a:lnTo>
                  <a:lnTo>
                    <a:pt x="232261" y="38045"/>
                  </a:lnTo>
                  <a:lnTo>
                    <a:pt x="232057" y="36205"/>
                  </a:lnTo>
                  <a:lnTo>
                    <a:pt x="232057" y="36205"/>
                  </a:lnTo>
                  <a:lnTo>
                    <a:pt x="232364" y="36307"/>
                  </a:lnTo>
                  <a:lnTo>
                    <a:pt x="232670" y="35591"/>
                  </a:lnTo>
                  <a:lnTo>
                    <a:pt x="232977" y="35591"/>
                  </a:lnTo>
                  <a:lnTo>
                    <a:pt x="234102" y="36102"/>
                  </a:lnTo>
                  <a:lnTo>
                    <a:pt x="235739" y="30273"/>
                  </a:lnTo>
                  <a:lnTo>
                    <a:pt x="232670" y="25773"/>
                  </a:lnTo>
                  <a:lnTo>
                    <a:pt x="232670" y="25466"/>
                  </a:lnTo>
                  <a:lnTo>
                    <a:pt x="229909" y="24545"/>
                  </a:lnTo>
                  <a:lnTo>
                    <a:pt x="230420" y="25159"/>
                  </a:lnTo>
                  <a:lnTo>
                    <a:pt x="230318" y="25364"/>
                  </a:lnTo>
                  <a:lnTo>
                    <a:pt x="230114" y="24955"/>
                  </a:lnTo>
                  <a:lnTo>
                    <a:pt x="230114" y="25159"/>
                  </a:lnTo>
                  <a:lnTo>
                    <a:pt x="229500" y="25261"/>
                  </a:lnTo>
                  <a:lnTo>
                    <a:pt x="229602" y="24955"/>
                  </a:lnTo>
                  <a:lnTo>
                    <a:pt x="228886" y="24648"/>
                  </a:lnTo>
                  <a:lnTo>
                    <a:pt x="229193" y="25057"/>
                  </a:lnTo>
                  <a:lnTo>
                    <a:pt x="226841" y="23830"/>
                  </a:lnTo>
                  <a:lnTo>
                    <a:pt x="228068" y="21068"/>
                  </a:lnTo>
                  <a:lnTo>
                    <a:pt x="227864" y="20761"/>
                  </a:lnTo>
                  <a:lnTo>
                    <a:pt x="228170" y="20455"/>
                  </a:lnTo>
                  <a:lnTo>
                    <a:pt x="228170" y="20045"/>
                  </a:lnTo>
                  <a:lnTo>
                    <a:pt x="231034" y="19841"/>
                  </a:lnTo>
                  <a:lnTo>
                    <a:pt x="231034" y="19636"/>
                  </a:lnTo>
                  <a:lnTo>
                    <a:pt x="232875" y="19841"/>
                  </a:lnTo>
                  <a:lnTo>
                    <a:pt x="232568" y="19534"/>
                  </a:lnTo>
                  <a:lnTo>
                    <a:pt x="232875" y="19636"/>
                  </a:lnTo>
                  <a:lnTo>
                    <a:pt x="232670" y="19432"/>
                  </a:lnTo>
                  <a:lnTo>
                    <a:pt x="233898" y="19534"/>
                  </a:lnTo>
                  <a:lnTo>
                    <a:pt x="233795" y="19636"/>
                  </a:lnTo>
                  <a:lnTo>
                    <a:pt x="235432" y="19841"/>
                  </a:lnTo>
                  <a:lnTo>
                    <a:pt x="234716" y="19943"/>
                  </a:lnTo>
                  <a:lnTo>
                    <a:pt x="236250" y="19943"/>
                  </a:lnTo>
                  <a:lnTo>
                    <a:pt x="236250" y="19841"/>
                  </a:lnTo>
                  <a:lnTo>
                    <a:pt x="236966" y="19943"/>
                  </a:lnTo>
                  <a:lnTo>
                    <a:pt x="237068" y="19841"/>
                  </a:lnTo>
                  <a:lnTo>
                    <a:pt x="237580" y="19841"/>
                  </a:lnTo>
                  <a:lnTo>
                    <a:pt x="236557" y="19636"/>
                  </a:lnTo>
                  <a:lnTo>
                    <a:pt x="236148" y="18818"/>
                  </a:lnTo>
                  <a:lnTo>
                    <a:pt x="236352" y="17489"/>
                  </a:lnTo>
                  <a:lnTo>
                    <a:pt x="238602" y="17693"/>
                  </a:lnTo>
                  <a:lnTo>
                    <a:pt x="239011" y="18205"/>
                  </a:lnTo>
                  <a:lnTo>
                    <a:pt x="239216" y="18102"/>
                  </a:lnTo>
                  <a:lnTo>
                    <a:pt x="239625" y="18511"/>
                  </a:lnTo>
                  <a:lnTo>
                    <a:pt x="239932" y="18409"/>
                  </a:lnTo>
                  <a:lnTo>
                    <a:pt x="240341" y="17591"/>
                  </a:lnTo>
                  <a:lnTo>
                    <a:pt x="240239" y="17489"/>
                  </a:lnTo>
                  <a:lnTo>
                    <a:pt x="240648" y="17693"/>
                  </a:lnTo>
                  <a:lnTo>
                    <a:pt x="239727" y="16773"/>
                  </a:lnTo>
                  <a:lnTo>
                    <a:pt x="241364" y="16875"/>
                  </a:lnTo>
                  <a:lnTo>
                    <a:pt x="240648" y="16875"/>
                  </a:lnTo>
                  <a:lnTo>
                    <a:pt x="241875" y="18307"/>
                  </a:lnTo>
                  <a:lnTo>
                    <a:pt x="241261" y="18614"/>
                  </a:lnTo>
                  <a:lnTo>
                    <a:pt x="241261" y="19432"/>
                  </a:lnTo>
                  <a:lnTo>
                    <a:pt x="241159" y="19534"/>
                  </a:lnTo>
                  <a:lnTo>
                    <a:pt x="241057" y="20966"/>
                  </a:lnTo>
                  <a:lnTo>
                    <a:pt x="240648" y="20966"/>
                  </a:lnTo>
                  <a:lnTo>
                    <a:pt x="240750" y="21170"/>
                  </a:lnTo>
                  <a:lnTo>
                    <a:pt x="240443" y="21273"/>
                  </a:lnTo>
                  <a:lnTo>
                    <a:pt x="240852" y="21784"/>
                  </a:lnTo>
                  <a:lnTo>
                    <a:pt x="240852" y="22398"/>
                  </a:lnTo>
                  <a:lnTo>
                    <a:pt x="246784" y="27716"/>
                  </a:lnTo>
                  <a:lnTo>
                    <a:pt x="247091" y="26898"/>
                  </a:lnTo>
                  <a:lnTo>
                    <a:pt x="246273" y="25773"/>
                  </a:lnTo>
                  <a:lnTo>
                    <a:pt x="246273" y="25773"/>
                  </a:lnTo>
                  <a:lnTo>
                    <a:pt x="246580" y="25977"/>
                  </a:lnTo>
                  <a:lnTo>
                    <a:pt x="247398" y="25773"/>
                  </a:lnTo>
                  <a:lnTo>
                    <a:pt x="246477" y="24852"/>
                  </a:lnTo>
                  <a:lnTo>
                    <a:pt x="246580" y="24341"/>
                  </a:lnTo>
                  <a:lnTo>
                    <a:pt x="247193" y="24341"/>
                  </a:lnTo>
                  <a:lnTo>
                    <a:pt x="246068" y="22705"/>
                  </a:lnTo>
                  <a:lnTo>
                    <a:pt x="246170" y="22398"/>
                  </a:lnTo>
                  <a:lnTo>
                    <a:pt x="246375" y="22807"/>
                  </a:lnTo>
                  <a:lnTo>
                    <a:pt x="246784" y="22705"/>
                  </a:lnTo>
                  <a:lnTo>
                    <a:pt x="245045" y="21170"/>
                  </a:lnTo>
                  <a:lnTo>
                    <a:pt x="244330" y="21068"/>
                  </a:lnTo>
                  <a:lnTo>
                    <a:pt x="244432" y="21273"/>
                  </a:lnTo>
                  <a:lnTo>
                    <a:pt x="243614" y="20761"/>
                  </a:lnTo>
                  <a:lnTo>
                    <a:pt x="243307" y="19943"/>
                  </a:lnTo>
                  <a:lnTo>
                    <a:pt x="243409" y="19943"/>
                  </a:lnTo>
                  <a:lnTo>
                    <a:pt x="242898" y="19227"/>
                  </a:lnTo>
                  <a:lnTo>
                    <a:pt x="244023" y="19227"/>
                  </a:lnTo>
                  <a:lnTo>
                    <a:pt x="243818" y="19023"/>
                  </a:lnTo>
                  <a:lnTo>
                    <a:pt x="244330" y="18716"/>
                  </a:lnTo>
                  <a:lnTo>
                    <a:pt x="244943" y="19227"/>
                  </a:lnTo>
                  <a:lnTo>
                    <a:pt x="244943" y="18920"/>
                  </a:lnTo>
                  <a:lnTo>
                    <a:pt x="245250" y="18716"/>
                  </a:lnTo>
                  <a:lnTo>
                    <a:pt x="247807" y="19125"/>
                  </a:lnTo>
                  <a:lnTo>
                    <a:pt x="247398" y="18716"/>
                  </a:lnTo>
                  <a:lnTo>
                    <a:pt x="247909" y="18102"/>
                  </a:lnTo>
                  <a:lnTo>
                    <a:pt x="247807" y="18000"/>
                  </a:lnTo>
                  <a:lnTo>
                    <a:pt x="247909" y="17898"/>
                  </a:lnTo>
                  <a:lnTo>
                    <a:pt x="248011" y="17898"/>
                  </a:lnTo>
                  <a:lnTo>
                    <a:pt x="247807" y="17693"/>
                  </a:lnTo>
                  <a:lnTo>
                    <a:pt x="248011" y="17795"/>
                  </a:lnTo>
                  <a:lnTo>
                    <a:pt x="248011" y="17489"/>
                  </a:lnTo>
                  <a:lnTo>
                    <a:pt x="249545" y="16773"/>
                  </a:lnTo>
                  <a:lnTo>
                    <a:pt x="249136" y="16568"/>
                  </a:lnTo>
                  <a:lnTo>
                    <a:pt x="251182" y="16977"/>
                  </a:lnTo>
                  <a:lnTo>
                    <a:pt x="251080" y="16670"/>
                  </a:lnTo>
                  <a:lnTo>
                    <a:pt x="249443" y="15852"/>
                  </a:lnTo>
                  <a:lnTo>
                    <a:pt x="249443" y="15852"/>
                  </a:lnTo>
                  <a:lnTo>
                    <a:pt x="249545" y="15955"/>
                  </a:lnTo>
                  <a:lnTo>
                    <a:pt x="249545" y="15955"/>
                  </a:lnTo>
                  <a:lnTo>
                    <a:pt x="249136" y="15750"/>
                  </a:lnTo>
                  <a:lnTo>
                    <a:pt x="249239" y="15750"/>
                  </a:lnTo>
                  <a:lnTo>
                    <a:pt x="248011" y="15034"/>
                  </a:lnTo>
                  <a:lnTo>
                    <a:pt x="248114" y="15239"/>
                  </a:lnTo>
                  <a:lnTo>
                    <a:pt x="245045" y="14830"/>
                  </a:lnTo>
                  <a:lnTo>
                    <a:pt x="246682" y="14625"/>
                  </a:lnTo>
                  <a:lnTo>
                    <a:pt x="245761" y="14420"/>
                  </a:lnTo>
                  <a:lnTo>
                    <a:pt x="248318" y="14420"/>
                  </a:lnTo>
                  <a:lnTo>
                    <a:pt x="237375" y="10125"/>
                  </a:lnTo>
                  <a:lnTo>
                    <a:pt x="237477" y="10227"/>
                  </a:lnTo>
                  <a:lnTo>
                    <a:pt x="235330" y="10023"/>
                  </a:lnTo>
                  <a:lnTo>
                    <a:pt x="236864" y="11148"/>
                  </a:lnTo>
                  <a:lnTo>
                    <a:pt x="236864" y="11148"/>
                  </a:lnTo>
                  <a:lnTo>
                    <a:pt x="234000" y="10330"/>
                  </a:lnTo>
                  <a:lnTo>
                    <a:pt x="233795" y="10432"/>
                  </a:lnTo>
                  <a:lnTo>
                    <a:pt x="230523" y="10432"/>
                  </a:lnTo>
                  <a:lnTo>
                    <a:pt x="231136" y="11352"/>
                  </a:lnTo>
                  <a:lnTo>
                    <a:pt x="231136" y="11352"/>
                  </a:lnTo>
                  <a:lnTo>
                    <a:pt x="222034" y="9205"/>
                  </a:lnTo>
                  <a:lnTo>
                    <a:pt x="222239" y="9205"/>
                  </a:lnTo>
                  <a:lnTo>
                    <a:pt x="219375" y="8591"/>
                  </a:lnTo>
                  <a:lnTo>
                    <a:pt x="219886" y="8489"/>
                  </a:lnTo>
                  <a:lnTo>
                    <a:pt x="217636" y="8080"/>
                  </a:lnTo>
                  <a:lnTo>
                    <a:pt x="217330" y="8591"/>
                  </a:lnTo>
                  <a:lnTo>
                    <a:pt x="216614" y="8489"/>
                  </a:lnTo>
                  <a:lnTo>
                    <a:pt x="217023" y="8489"/>
                  </a:lnTo>
                  <a:lnTo>
                    <a:pt x="216716" y="8182"/>
                  </a:lnTo>
                  <a:lnTo>
                    <a:pt x="215693" y="8182"/>
                  </a:lnTo>
                  <a:lnTo>
                    <a:pt x="216920" y="8080"/>
                  </a:lnTo>
                  <a:lnTo>
                    <a:pt x="212727" y="7670"/>
                  </a:lnTo>
                  <a:lnTo>
                    <a:pt x="213341" y="7875"/>
                  </a:lnTo>
                  <a:lnTo>
                    <a:pt x="212420" y="8080"/>
                  </a:lnTo>
                  <a:lnTo>
                    <a:pt x="213239" y="8182"/>
                  </a:lnTo>
                  <a:lnTo>
                    <a:pt x="213034" y="8284"/>
                  </a:lnTo>
                  <a:lnTo>
                    <a:pt x="212932" y="8386"/>
                  </a:lnTo>
                  <a:lnTo>
                    <a:pt x="213852" y="8795"/>
                  </a:lnTo>
                  <a:lnTo>
                    <a:pt x="212830" y="8795"/>
                  </a:lnTo>
                  <a:lnTo>
                    <a:pt x="213034" y="9000"/>
                  </a:lnTo>
                  <a:lnTo>
                    <a:pt x="212830" y="9000"/>
                  </a:lnTo>
                  <a:lnTo>
                    <a:pt x="213034" y="9102"/>
                  </a:lnTo>
                  <a:lnTo>
                    <a:pt x="210886" y="8693"/>
                  </a:lnTo>
                  <a:lnTo>
                    <a:pt x="210580" y="8898"/>
                  </a:lnTo>
                  <a:lnTo>
                    <a:pt x="208739" y="8591"/>
                  </a:lnTo>
                  <a:lnTo>
                    <a:pt x="209045" y="9000"/>
                  </a:lnTo>
                  <a:lnTo>
                    <a:pt x="209045" y="9409"/>
                  </a:lnTo>
                  <a:lnTo>
                    <a:pt x="208534" y="9307"/>
                  </a:lnTo>
                  <a:lnTo>
                    <a:pt x="206591" y="8693"/>
                  </a:lnTo>
                  <a:lnTo>
                    <a:pt x="206898" y="8591"/>
                  </a:lnTo>
                  <a:lnTo>
                    <a:pt x="205057" y="8080"/>
                  </a:lnTo>
                  <a:lnTo>
                    <a:pt x="206386" y="8284"/>
                  </a:lnTo>
                  <a:lnTo>
                    <a:pt x="205364" y="7977"/>
                  </a:lnTo>
                  <a:lnTo>
                    <a:pt x="205773" y="7773"/>
                  </a:lnTo>
                  <a:lnTo>
                    <a:pt x="201068" y="7057"/>
                  </a:lnTo>
                  <a:lnTo>
                    <a:pt x="201682" y="7364"/>
                  </a:lnTo>
                  <a:lnTo>
                    <a:pt x="201170" y="7568"/>
                  </a:lnTo>
                  <a:lnTo>
                    <a:pt x="201477" y="7670"/>
                  </a:lnTo>
                  <a:lnTo>
                    <a:pt x="198205" y="7159"/>
                  </a:lnTo>
                  <a:lnTo>
                    <a:pt x="195034" y="7159"/>
                  </a:lnTo>
                  <a:lnTo>
                    <a:pt x="195443" y="7261"/>
                  </a:lnTo>
                  <a:lnTo>
                    <a:pt x="195545" y="7568"/>
                  </a:lnTo>
                  <a:lnTo>
                    <a:pt x="195955" y="7875"/>
                  </a:lnTo>
                  <a:lnTo>
                    <a:pt x="195545" y="7670"/>
                  </a:lnTo>
                  <a:lnTo>
                    <a:pt x="195545" y="7568"/>
                  </a:lnTo>
                  <a:lnTo>
                    <a:pt x="194830" y="7159"/>
                  </a:lnTo>
                  <a:lnTo>
                    <a:pt x="194830" y="6955"/>
                  </a:lnTo>
                  <a:lnTo>
                    <a:pt x="194216" y="6750"/>
                  </a:lnTo>
                  <a:lnTo>
                    <a:pt x="194011" y="6955"/>
                  </a:lnTo>
                  <a:lnTo>
                    <a:pt x="193193" y="6750"/>
                  </a:lnTo>
                  <a:lnTo>
                    <a:pt x="193295" y="6750"/>
                  </a:lnTo>
                  <a:lnTo>
                    <a:pt x="192989" y="6648"/>
                  </a:lnTo>
                  <a:lnTo>
                    <a:pt x="193091" y="6750"/>
                  </a:lnTo>
                  <a:lnTo>
                    <a:pt x="192375" y="6955"/>
                  </a:lnTo>
                  <a:lnTo>
                    <a:pt x="193193" y="6955"/>
                  </a:lnTo>
                  <a:lnTo>
                    <a:pt x="190432" y="7773"/>
                  </a:lnTo>
                  <a:lnTo>
                    <a:pt x="191966" y="6648"/>
                  </a:lnTo>
                  <a:lnTo>
                    <a:pt x="191966" y="6443"/>
                  </a:lnTo>
                  <a:lnTo>
                    <a:pt x="193193" y="5830"/>
                  </a:lnTo>
                  <a:lnTo>
                    <a:pt x="192068" y="5216"/>
                  </a:lnTo>
                  <a:lnTo>
                    <a:pt x="192068" y="5216"/>
                  </a:lnTo>
                  <a:lnTo>
                    <a:pt x="192989" y="5523"/>
                  </a:lnTo>
                  <a:lnTo>
                    <a:pt x="191966" y="4909"/>
                  </a:lnTo>
                  <a:lnTo>
                    <a:pt x="191966" y="5114"/>
                  </a:lnTo>
                  <a:lnTo>
                    <a:pt x="188489" y="4602"/>
                  </a:lnTo>
                  <a:lnTo>
                    <a:pt x="188489" y="4602"/>
                  </a:lnTo>
                  <a:lnTo>
                    <a:pt x="188591" y="4705"/>
                  </a:lnTo>
                  <a:lnTo>
                    <a:pt x="187670" y="4705"/>
                  </a:lnTo>
                  <a:lnTo>
                    <a:pt x="187977" y="4398"/>
                  </a:lnTo>
                  <a:lnTo>
                    <a:pt x="185830" y="4295"/>
                  </a:lnTo>
                  <a:lnTo>
                    <a:pt x="186648" y="4091"/>
                  </a:lnTo>
                  <a:lnTo>
                    <a:pt x="185114" y="3784"/>
                  </a:lnTo>
                  <a:close/>
                  <a:moveTo>
                    <a:pt x="252818" y="91125"/>
                  </a:moveTo>
                  <a:lnTo>
                    <a:pt x="252307" y="92455"/>
                  </a:lnTo>
                  <a:lnTo>
                    <a:pt x="252205" y="92352"/>
                  </a:lnTo>
                  <a:lnTo>
                    <a:pt x="252000" y="92966"/>
                  </a:lnTo>
                  <a:lnTo>
                    <a:pt x="252102" y="93170"/>
                  </a:lnTo>
                  <a:lnTo>
                    <a:pt x="250364" y="97875"/>
                  </a:lnTo>
                  <a:lnTo>
                    <a:pt x="249341" y="98080"/>
                  </a:lnTo>
                  <a:lnTo>
                    <a:pt x="246375" y="95727"/>
                  </a:lnTo>
                  <a:lnTo>
                    <a:pt x="246170" y="95011"/>
                  </a:lnTo>
                  <a:lnTo>
                    <a:pt x="246886" y="93580"/>
                  </a:lnTo>
                  <a:lnTo>
                    <a:pt x="247091" y="93682"/>
                  </a:lnTo>
                  <a:lnTo>
                    <a:pt x="247705" y="92761"/>
                  </a:lnTo>
                  <a:lnTo>
                    <a:pt x="247193" y="92455"/>
                  </a:lnTo>
                  <a:lnTo>
                    <a:pt x="247091" y="92864"/>
                  </a:lnTo>
                  <a:lnTo>
                    <a:pt x="246784" y="92352"/>
                  </a:lnTo>
                  <a:lnTo>
                    <a:pt x="246886" y="92148"/>
                  </a:lnTo>
                  <a:lnTo>
                    <a:pt x="246886" y="92148"/>
                  </a:lnTo>
                  <a:lnTo>
                    <a:pt x="246170" y="92557"/>
                  </a:lnTo>
                  <a:lnTo>
                    <a:pt x="244227" y="91841"/>
                  </a:lnTo>
                  <a:lnTo>
                    <a:pt x="244023" y="91841"/>
                  </a:lnTo>
                  <a:lnTo>
                    <a:pt x="243716" y="91534"/>
                  </a:lnTo>
                  <a:lnTo>
                    <a:pt x="243307" y="91534"/>
                  </a:lnTo>
                  <a:lnTo>
                    <a:pt x="243818" y="91841"/>
                  </a:lnTo>
                  <a:lnTo>
                    <a:pt x="243920" y="92455"/>
                  </a:lnTo>
                  <a:lnTo>
                    <a:pt x="243614" y="92659"/>
                  </a:lnTo>
                  <a:lnTo>
                    <a:pt x="242591" y="92455"/>
                  </a:lnTo>
                  <a:lnTo>
                    <a:pt x="242182" y="92966"/>
                  </a:lnTo>
                  <a:lnTo>
                    <a:pt x="241977" y="92864"/>
                  </a:lnTo>
                  <a:lnTo>
                    <a:pt x="241977" y="93068"/>
                  </a:lnTo>
                  <a:lnTo>
                    <a:pt x="241773" y="93068"/>
                  </a:lnTo>
                  <a:lnTo>
                    <a:pt x="241466" y="93375"/>
                  </a:lnTo>
                  <a:lnTo>
                    <a:pt x="241466" y="93784"/>
                  </a:lnTo>
                  <a:lnTo>
                    <a:pt x="241159" y="93989"/>
                  </a:lnTo>
                  <a:lnTo>
                    <a:pt x="240852" y="95011"/>
                  </a:lnTo>
                  <a:lnTo>
                    <a:pt x="240955" y="95318"/>
                  </a:lnTo>
                  <a:lnTo>
                    <a:pt x="240750" y="95625"/>
                  </a:lnTo>
                  <a:lnTo>
                    <a:pt x="239420" y="95727"/>
                  </a:lnTo>
                  <a:lnTo>
                    <a:pt x="239318" y="95727"/>
                  </a:lnTo>
                  <a:lnTo>
                    <a:pt x="239318" y="95011"/>
                  </a:lnTo>
                  <a:lnTo>
                    <a:pt x="238500" y="94193"/>
                  </a:lnTo>
                  <a:lnTo>
                    <a:pt x="238295" y="94500"/>
                  </a:lnTo>
                  <a:lnTo>
                    <a:pt x="237784" y="94602"/>
                  </a:lnTo>
                  <a:lnTo>
                    <a:pt x="237375" y="95114"/>
                  </a:lnTo>
                  <a:lnTo>
                    <a:pt x="237273" y="95011"/>
                  </a:lnTo>
                  <a:lnTo>
                    <a:pt x="237273" y="94705"/>
                  </a:lnTo>
                  <a:lnTo>
                    <a:pt x="236557" y="95932"/>
                  </a:lnTo>
                  <a:lnTo>
                    <a:pt x="236250" y="95727"/>
                  </a:lnTo>
                  <a:lnTo>
                    <a:pt x="235943" y="96443"/>
                  </a:lnTo>
                  <a:lnTo>
                    <a:pt x="236148" y="96341"/>
                  </a:lnTo>
                  <a:lnTo>
                    <a:pt x="236045" y="96545"/>
                  </a:lnTo>
                  <a:lnTo>
                    <a:pt x="235841" y="96648"/>
                  </a:lnTo>
                  <a:lnTo>
                    <a:pt x="236148" y="96955"/>
                  </a:lnTo>
                  <a:lnTo>
                    <a:pt x="235023" y="97057"/>
                  </a:lnTo>
                  <a:lnTo>
                    <a:pt x="235125" y="97670"/>
                  </a:lnTo>
                  <a:lnTo>
                    <a:pt x="234818" y="98080"/>
                  </a:lnTo>
                  <a:lnTo>
                    <a:pt x="234614" y="97364"/>
                  </a:lnTo>
                  <a:lnTo>
                    <a:pt x="234307" y="97159"/>
                  </a:lnTo>
                  <a:lnTo>
                    <a:pt x="233795" y="97568"/>
                  </a:lnTo>
                  <a:lnTo>
                    <a:pt x="233489" y="98795"/>
                  </a:lnTo>
                  <a:lnTo>
                    <a:pt x="225511" y="103193"/>
                  </a:lnTo>
                  <a:lnTo>
                    <a:pt x="225614" y="102477"/>
                  </a:lnTo>
                  <a:lnTo>
                    <a:pt x="224591" y="105034"/>
                  </a:lnTo>
                  <a:lnTo>
                    <a:pt x="224795" y="106466"/>
                  </a:lnTo>
                  <a:lnTo>
                    <a:pt x="224386" y="106977"/>
                  </a:lnTo>
                  <a:lnTo>
                    <a:pt x="224386" y="107386"/>
                  </a:lnTo>
                  <a:lnTo>
                    <a:pt x="224080" y="106875"/>
                  </a:lnTo>
                  <a:lnTo>
                    <a:pt x="223977" y="106977"/>
                  </a:lnTo>
                  <a:lnTo>
                    <a:pt x="223875" y="106977"/>
                  </a:lnTo>
                  <a:lnTo>
                    <a:pt x="224284" y="113318"/>
                  </a:lnTo>
                  <a:lnTo>
                    <a:pt x="222955" y="115261"/>
                  </a:lnTo>
                  <a:lnTo>
                    <a:pt x="223159" y="115364"/>
                  </a:lnTo>
                  <a:lnTo>
                    <a:pt x="223568" y="115773"/>
                  </a:lnTo>
                  <a:lnTo>
                    <a:pt x="228989" y="114852"/>
                  </a:lnTo>
                  <a:lnTo>
                    <a:pt x="229193" y="114955"/>
                  </a:lnTo>
                  <a:lnTo>
                    <a:pt x="237068" y="112500"/>
                  </a:lnTo>
                  <a:lnTo>
                    <a:pt x="239932" y="113216"/>
                  </a:lnTo>
                  <a:lnTo>
                    <a:pt x="240136" y="113523"/>
                  </a:lnTo>
                  <a:lnTo>
                    <a:pt x="240034" y="113727"/>
                  </a:lnTo>
                  <a:lnTo>
                    <a:pt x="240341" y="115364"/>
                  </a:lnTo>
                  <a:lnTo>
                    <a:pt x="240034" y="115568"/>
                  </a:lnTo>
                  <a:lnTo>
                    <a:pt x="240341" y="115977"/>
                  </a:lnTo>
                  <a:lnTo>
                    <a:pt x="240648" y="115977"/>
                  </a:lnTo>
                  <a:lnTo>
                    <a:pt x="240648" y="115670"/>
                  </a:lnTo>
                  <a:lnTo>
                    <a:pt x="243205" y="113523"/>
                  </a:lnTo>
                  <a:lnTo>
                    <a:pt x="241261" y="116284"/>
                  </a:lnTo>
                  <a:lnTo>
                    <a:pt x="242795" y="115159"/>
                  </a:lnTo>
                  <a:lnTo>
                    <a:pt x="242795" y="115977"/>
                  </a:lnTo>
                  <a:lnTo>
                    <a:pt x="242182" y="116693"/>
                  </a:lnTo>
                  <a:lnTo>
                    <a:pt x="242182" y="116693"/>
                  </a:lnTo>
                  <a:lnTo>
                    <a:pt x="242898" y="116489"/>
                  </a:lnTo>
                  <a:lnTo>
                    <a:pt x="243000" y="116591"/>
                  </a:lnTo>
                  <a:lnTo>
                    <a:pt x="243102" y="116591"/>
                  </a:lnTo>
                  <a:lnTo>
                    <a:pt x="243102" y="116693"/>
                  </a:lnTo>
                  <a:lnTo>
                    <a:pt x="243000" y="116591"/>
                  </a:lnTo>
                  <a:lnTo>
                    <a:pt x="242898" y="116591"/>
                  </a:lnTo>
                  <a:lnTo>
                    <a:pt x="243000" y="119148"/>
                  </a:lnTo>
                  <a:lnTo>
                    <a:pt x="244739" y="119864"/>
                  </a:lnTo>
                  <a:lnTo>
                    <a:pt x="246273" y="119352"/>
                  </a:lnTo>
                  <a:lnTo>
                    <a:pt x="246170" y="119352"/>
                  </a:lnTo>
                  <a:lnTo>
                    <a:pt x="246784" y="119148"/>
                  </a:lnTo>
                  <a:lnTo>
                    <a:pt x="246784" y="119148"/>
                  </a:lnTo>
                  <a:lnTo>
                    <a:pt x="246273" y="119557"/>
                  </a:lnTo>
                  <a:lnTo>
                    <a:pt x="246989" y="119557"/>
                  </a:lnTo>
                  <a:lnTo>
                    <a:pt x="246784" y="119761"/>
                  </a:lnTo>
                  <a:lnTo>
                    <a:pt x="247193" y="120375"/>
                  </a:lnTo>
                  <a:lnTo>
                    <a:pt x="247500" y="120068"/>
                  </a:lnTo>
                  <a:lnTo>
                    <a:pt x="247295" y="120068"/>
                  </a:lnTo>
                  <a:lnTo>
                    <a:pt x="254148" y="115057"/>
                  </a:lnTo>
                  <a:lnTo>
                    <a:pt x="254045" y="114955"/>
                  </a:lnTo>
                  <a:lnTo>
                    <a:pt x="258648" y="109432"/>
                  </a:lnTo>
                  <a:lnTo>
                    <a:pt x="259261" y="106773"/>
                  </a:lnTo>
                  <a:lnTo>
                    <a:pt x="258648" y="104932"/>
                  </a:lnTo>
                  <a:lnTo>
                    <a:pt x="258034" y="104420"/>
                  </a:lnTo>
                  <a:lnTo>
                    <a:pt x="257932" y="103193"/>
                  </a:lnTo>
                  <a:lnTo>
                    <a:pt x="257318" y="103193"/>
                  </a:lnTo>
                  <a:lnTo>
                    <a:pt x="257318" y="103091"/>
                  </a:lnTo>
                  <a:lnTo>
                    <a:pt x="257114" y="103091"/>
                  </a:lnTo>
                  <a:lnTo>
                    <a:pt x="256909" y="101148"/>
                  </a:lnTo>
                  <a:lnTo>
                    <a:pt x="254966" y="99614"/>
                  </a:lnTo>
                  <a:lnTo>
                    <a:pt x="254761" y="95318"/>
                  </a:lnTo>
                  <a:lnTo>
                    <a:pt x="254250" y="94807"/>
                  </a:lnTo>
                  <a:lnTo>
                    <a:pt x="253739" y="94909"/>
                  </a:lnTo>
                  <a:lnTo>
                    <a:pt x="252920" y="91227"/>
                  </a:lnTo>
                  <a:lnTo>
                    <a:pt x="252818" y="91125"/>
                  </a:lnTo>
                  <a:close/>
                  <a:moveTo>
                    <a:pt x="272352" y="115466"/>
                  </a:moveTo>
                  <a:lnTo>
                    <a:pt x="272352" y="116591"/>
                  </a:lnTo>
                  <a:lnTo>
                    <a:pt x="272659" y="116386"/>
                  </a:lnTo>
                  <a:lnTo>
                    <a:pt x="272352" y="116693"/>
                  </a:lnTo>
                  <a:lnTo>
                    <a:pt x="272352" y="117511"/>
                  </a:lnTo>
                  <a:lnTo>
                    <a:pt x="272557" y="117000"/>
                  </a:lnTo>
                  <a:lnTo>
                    <a:pt x="272557" y="117307"/>
                  </a:lnTo>
                  <a:lnTo>
                    <a:pt x="272659" y="117205"/>
                  </a:lnTo>
                  <a:lnTo>
                    <a:pt x="272455" y="117716"/>
                  </a:lnTo>
                  <a:lnTo>
                    <a:pt x="272352" y="117614"/>
                  </a:lnTo>
                  <a:lnTo>
                    <a:pt x="272352" y="118125"/>
                  </a:lnTo>
                  <a:lnTo>
                    <a:pt x="272659" y="118227"/>
                  </a:lnTo>
                  <a:lnTo>
                    <a:pt x="272352" y="118330"/>
                  </a:lnTo>
                  <a:lnTo>
                    <a:pt x="272352" y="118227"/>
                  </a:lnTo>
                  <a:lnTo>
                    <a:pt x="270920" y="120170"/>
                  </a:lnTo>
                  <a:lnTo>
                    <a:pt x="270205" y="120477"/>
                  </a:lnTo>
                  <a:lnTo>
                    <a:pt x="270716" y="121398"/>
                  </a:lnTo>
                  <a:lnTo>
                    <a:pt x="269386" y="122523"/>
                  </a:lnTo>
                  <a:lnTo>
                    <a:pt x="269591" y="122420"/>
                  </a:lnTo>
                  <a:lnTo>
                    <a:pt x="269489" y="122625"/>
                  </a:lnTo>
                  <a:lnTo>
                    <a:pt x="270102" y="122625"/>
                  </a:lnTo>
                  <a:lnTo>
                    <a:pt x="275216" y="118739"/>
                  </a:lnTo>
                  <a:lnTo>
                    <a:pt x="274091" y="119148"/>
                  </a:lnTo>
                  <a:lnTo>
                    <a:pt x="273273" y="118739"/>
                  </a:lnTo>
                  <a:lnTo>
                    <a:pt x="273580" y="117818"/>
                  </a:lnTo>
                  <a:lnTo>
                    <a:pt x="273477" y="117818"/>
                  </a:lnTo>
                  <a:lnTo>
                    <a:pt x="273477" y="117614"/>
                  </a:lnTo>
                  <a:lnTo>
                    <a:pt x="273170" y="118330"/>
                  </a:lnTo>
                  <a:lnTo>
                    <a:pt x="272659" y="117920"/>
                  </a:lnTo>
                  <a:lnTo>
                    <a:pt x="273273" y="116284"/>
                  </a:lnTo>
                  <a:lnTo>
                    <a:pt x="273068" y="116386"/>
                  </a:lnTo>
                  <a:lnTo>
                    <a:pt x="272761" y="115875"/>
                  </a:lnTo>
                  <a:lnTo>
                    <a:pt x="272557" y="115977"/>
                  </a:lnTo>
                  <a:lnTo>
                    <a:pt x="272557" y="115977"/>
                  </a:lnTo>
                  <a:lnTo>
                    <a:pt x="272659" y="115466"/>
                  </a:lnTo>
                  <a:close/>
                  <a:moveTo>
                    <a:pt x="246959" y="123166"/>
                  </a:moveTo>
                  <a:lnTo>
                    <a:pt x="246901" y="123224"/>
                  </a:lnTo>
                  <a:lnTo>
                    <a:pt x="246901" y="123224"/>
                  </a:lnTo>
                  <a:lnTo>
                    <a:pt x="246959" y="123166"/>
                  </a:lnTo>
                  <a:close/>
                  <a:moveTo>
                    <a:pt x="246901" y="123224"/>
                  </a:moveTo>
                  <a:lnTo>
                    <a:pt x="246886" y="123239"/>
                  </a:lnTo>
                  <a:lnTo>
                    <a:pt x="246784" y="123443"/>
                  </a:lnTo>
                  <a:lnTo>
                    <a:pt x="246784" y="123443"/>
                  </a:lnTo>
                  <a:lnTo>
                    <a:pt x="246901" y="123224"/>
                  </a:lnTo>
                  <a:close/>
                  <a:moveTo>
                    <a:pt x="244841" y="121807"/>
                  </a:moveTo>
                  <a:lnTo>
                    <a:pt x="244330" y="123341"/>
                  </a:lnTo>
                  <a:lnTo>
                    <a:pt x="244432" y="123341"/>
                  </a:lnTo>
                  <a:lnTo>
                    <a:pt x="244330" y="123648"/>
                  </a:lnTo>
                  <a:lnTo>
                    <a:pt x="244227" y="123443"/>
                  </a:lnTo>
                  <a:lnTo>
                    <a:pt x="244330" y="124466"/>
                  </a:lnTo>
                  <a:lnTo>
                    <a:pt x="244023" y="124670"/>
                  </a:lnTo>
                  <a:lnTo>
                    <a:pt x="244739" y="124670"/>
                  </a:lnTo>
                  <a:lnTo>
                    <a:pt x="245659" y="123955"/>
                  </a:lnTo>
                  <a:lnTo>
                    <a:pt x="245557" y="124159"/>
                  </a:lnTo>
                  <a:lnTo>
                    <a:pt x="245557" y="124159"/>
                  </a:lnTo>
                  <a:lnTo>
                    <a:pt x="245966" y="124057"/>
                  </a:lnTo>
                  <a:lnTo>
                    <a:pt x="245761" y="124364"/>
                  </a:lnTo>
                  <a:lnTo>
                    <a:pt x="246901" y="123224"/>
                  </a:lnTo>
                  <a:lnTo>
                    <a:pt x="247602" y="121909"/>
                  </a:lnTo>
                  <a:lnTo>
                    <a:pt x="246375" y="122318"/>
                  </a:lnTo>
                  <a:lnTo>
                    <a:pt x="244841" y="121807"/>
                  </a:lnTo>
                  <a:close/>
                  <a:moveTo>
                    <a:pt x="265623" y="124957"/>
                  </a:moveTo>
                  <a:lnTo>
                    <a:pt x="265500" y="124977"/>
                  </a:lnTo>
                  <a:lnTo>
                    <a:pt x="265705" y="124977"/>
                  </a:lnTo>
                  <a:lnTo>
                    <a:pt x="265623" y="124957"/>
                  </a:lnTo>
                  <a:close/>
                  <a:moveTo>
                    <a:pt x="268568" y="121705"/>
                  </a:moveTo>
                  <a:lnTo>
                    <a:pt x="265091" y="124057"/>
                  </a:lnTo>
                  <a:lnTo>
                    <a:pt x="265193" y="123852"/>
                  </a:lnTo>
                  <a:lnTo>
                    <a:pt x="265193" y="123852"/>
                  </a:lnTo>
                  <a:lnTo>
                    <a:pt x="264784" y="124159"/>
                  </a:lnTo>
                  <a:lnTo>
                    <a:pt x="264580" y="124261"/>
                  </a:lnTo>
                  <a:lnTo>
                    <a:pt x="264375" y="124261"/>
                  </a:lnTo>
                  <a:lnTo>
                    <a:pt x="264375" y="124364"/>
                  </a:lnTo>
                  <a:lnTo>
                    <a:pt x="260489" y="126102"/>
                  </a:lnTo>
                  <a:lnTo>
                    <a:pt x="260489" y="126102"/>
                  </a:lnTo>
                  <a:lnTo>
                    <a:pt x="260591" y="126000"/>
                  </a:lnTo>
                  <a:lnTo>
                    <a:pt x="259466" y="126818"/>
                  </a:lnTo>
                  <a:lnTo>
                    <a:pt x="259670" y="126818"/>
                  </a:lnTo>
                  <a:lnTo>
                    <a:pt x="259364" y="126920"/>
                  </a:lnTo>
                  <a:lnTo>
                    <a:pt x="259568" y="126920"/>
                  </a:lnTo>
                  <a:lnTo>
                    <a:pt x="259063" y="127173"/>
                  </a:lnTo>
                  <a:lnTo>
                    <a:pt x="259063" y="127173"/>
                  </a:lnTo>
                  <a:lnTo>
                    <a:pt x="259159" y="127125"/>
                  </a:lnTo>
                  <a:lnTo>
                    <a:pt x="258955" y="127330"/>
                  </a:lnTo>
                  <a:lnTo>
                    <a:pt x="259261" y="127227"/>
                  </a:lnTo>
                  <a:lnTo>
                    <a:pt x="258955" y="127432"/>
                  </a:lnTo>
                  <a:lnTo>
                    <a:pt x="259670" y="127636"/>
                  </a:lnTo>
                  <a:lnTo>
                    <a:pt x="259875" y="127841"/>
                  </a:lnTo>
                  <a:lnTo>
                    <a:pt x="265295" y="124875"/>
                  </a:lnTo>
                  <a:lnTo>
                    <a:pt x="265623" y="124957"/>
                  </a:lnTo>
                  <a:lnTo>
                    <a:pt x="265623" y="124957"/>
                  </a:lnTo>
                  <a:lnTo>
                    <a:pt x="266114" y="124875"/>
                  </a:lnTo>
                  <a:lnTo>
                    <a:pt x="266011" y="124670"/>
                  </a:lnTo>
                  <a:lnTo>
                    <a:pt x="265909" y="124670"/>
                  </a:lnTo>
                  <a:lnTo>
                    <a:pt x="269284" y="122318"/>
                  </a:lnTo>
                  <a:lnTo>
                    <a:pt x="268875" y="122420"/>
                  </a:lnTo>
                  <a:lnTo>
                    <a:pt x="268875" y="122420"/>
                  </a:lnTo>
                  <a:lnTo>
                    <a:pt x="269080" y="122318"/>
                  </a:lnTo>
                  <a:lnTo>
                    <a:pt x="269284" y="122216"/>
                  </a:lnTo>
                  <a:lnTo>
                    <a:pt x="269284" y="122216"/>
                  </a:lnTo>
                  <a:lnTo>
                    <a:pt x="268670" y="122420"/>
                  </a:lnTo>
                  <a:lnTo>
                    <a:pt x="269080" y="122114"/>
                  </a:lnTo>
                  <a:lnTo>
                    <a:pt x="268159" y="122420"/>
                  </a:lnTo>
                  <a:lnTo>
                    <a:pt x="268261" y="122011"/>
                  </a:lnTo>
                  <a:lnTo>
                    <a:pt x="268568" y="121705"/>
                  </a:lnTo>
                  <a:close/>
                  <a:moveTo>
                    <a:pt x="76909" y="132648"/>
                  </a:moveTo>
                  <a:lnTo>
                    <a:pt x="77216" y="132852"/>
                  </a:lnTo>
                  <a:lnTo>
                    <a:pt x="77011" y="132955"/>
                  </a:lnTo>
                  <a:lnTo>
                    <a:pt x="77216" y="133057"/>
                  </a:lnTo>
                  <a:lnTo>
                    <a:pt x="76807" y="133261"/>
                  </a:lnTo>
                  <a:lnTo>
                    <a:pt x="77625" y="133057"/>
                  </a:lnTo>
                  <a:lnTo>
                    <a:pt x="77830" y="132750"/>
                  </a:lnTo>
                  <a:lnTo>
                    <a:pt x="76909" y="132648"/>
                  </a:lnTo>
                  <a:close/>
                  <a:moveTo>
                    <a:pt x="78136" y="132545"/>
                  </a:moveTo>
                  <a:lnTo>
                    <a:pt x="78136" y="133261"/>
                  </a:lnTo>
                  <a:lnTo>
                    <a:pt x="78648" y="133364"/>
                  </a:lnTo>
                  <a:lnTo>
                    <a:pt x="78545" y="133159"/>
                  </a:lnTo>
                  <a:lnTo>
                    <a:pt x="78852" y="133057"/>
                  </a:lnTo>
                  <a:lnTo>
                    <a:pt x="78955" y="132852"/>
                  </a:lnTo>
                  <a:lnTo>
                    <a:pt x="79057" y="132750"/>
                  </a:lnTo>
                  <a:lnTo>
                    <a:pt x="78750" y="132852"/>
                  </a:lnTo>
                  <a:lnTo>
                    <a:pt x="78443" y="132648"/>
                  </a:lnTo>
                  <a:lnTo>
                    <a:pt x="78545" y="132648"/>
                  </a:lnTo>
                  <a:lnTo>
                    <a:pt x="78136" y="132545"/>
                  </a:lnTo>
                  <a:close/>
                  <a:moveTo>
                    <a:pt x="78136" y="133261"/>
                  </a:moveTo>
                  <a:lnTo>
                    <a:pt x="78136" y="133568"/>
                  </a:lnTo>
                  <a:lnTo>
                    <a:pt x="78341" y="133364"/>
                  </a:lnTo>
                  <a:lnTo>
                    <a:pt x="78136" y="133261"/>
                  </a:lnTo>
                  <a:close/>
                  <a:moveTo>
                    <a:pt x="68830" y="133875"/>
                  </a:moveTo>
                  <a:lnTo>
                    <a:pt x="67970" y="133970"/>
                  </a:lnTo>
                  <a:lnTo>
                    <a:pt x="67970" y="133970"/>
                  </a:lnTo>
                  <a:lnTo>
                    <a:pt x="68114" y="133875"/>
                  </a:lnTo>
                  <a:close/>
                  <a:moveTo>
                    <a:pt x="63920" y="8386"/>
                  </a:moveTo>
                  <a:lnTo>
                    <a:pt x="62795" y="8795"/>
                  </a:lnTo>
                  <a:lnTo>
                    <a:pt x="63000" y="8795"/>
                  </a:lnTo>
                  <a:lnTo>
                    <a:pt x="62182" y="9000"/>
                  </a:lnTo>
                  <a:lnTo>
                    <a:pt x="61568" y="10330"/>
                  </a:lnTo>
                  <a:lnTo>
                    <a:pt x="62693" y="10534"/>
                  </a:lnTo>
                  <a:lnTo>
                    <a:pt x="62693" y="10636"/>
                  </a:lnTo>
                  <a:lnTo>
                    <a:pt x="62386" y="10739"/>
                  </a:lnTo>
                  <a:lnTo>
                    <a:pt x="62591" y="10636"/>
                  </a:lnTo>
                  <a:lnTo>
                    <a:pt x="61977" y="10841"/>
                  </a:lnTo>
                  <a:lnTo>
                    <a:pt x="62080" y="10841"/>
                  </a:lnTo>
                  <a:lnTo>
                    <a:pt x="61568" y="11148"/>
                  </a:lnTo>
                  <a:lnTo>
                    <a:pt x="62182" y="11250"/>
                  </a:lnTo>
                  <a:lnTo>
                    <a:pt x="60136" y="12068"/>
                  </a:lnTo>
                  <a:lnTo>
                    <a:pt x="59727" y="12784"/>
                  </a:lnTo>
                  <a:lnTo>
                    <a:pt x="59216" y="12784"/>
                  </a:lnTo>
                  <a:lnTo>
                    <a:pt x="59216" y="13091"/>
                  </a:lnTo>
                  <a:lnTo>
                    <a:pt x="59114" y="12682"/>
                  </a:lnTo>
                  <a:lnTo>
                    <a:pt x="59420" y="12682"/>
                  </a:lnTo>
                  <a:lnTo>
                    <a:pt x="59727" y="12477"/>
                  </a:lnTo>
                  <a:lnTo>
                    <a:pt x="59420" y="12477"/>
                  </a:lnTo>
                  <a:lnTo>
                    <a:pt x="60239" y="11557"/>
                  </a:lnTo>
                  <a:lnTo>
                    <a:pt x="59523" y="11761"/>
                  </a:lnTo>
                  <a:lnTo>
                    <a:pt x="59523" y="11761"/>
                  </a:lnTo>
                  <a:lnTo>
                    <a:pt x="59932" y="11557"/>
                  </a:lnTo>
                  <a:lnTo>
                    <a:pt x="59523" y="11557"/>
                  </a:lnTo>
                  <a:lnTo>
                    <a:pt x="59420" y="11352"/>
                  </a:lnTo>
                  <a:lnTo>
                    <a:pt x="58602" y="11455"/>
                  </a:lnTo>
                  <a:lnTo>
                    <a:pt x="58500" y="11864"/>
                  </a:lnTo>
                  <a:lnTo>
                    <a:pt x="59114" y="11966"/>
                  </a:lnTo>
                  <a:lnTo>
                    <a:pt x="58500" y="12068"/>
                  </a:lnTo>
                  <a:lnTo>
                    <a:pt x="58295" y="11761"/>
                  </a:lnTo>
                  <a:lnTo>
                    <a:pt x="58295" y="11966"/>
                  </a:lnTo>
                  <a:lnTo>
                    <a:pt x="54307" y="11557"/>
                  </a:lnTo>
                  <a:lnTo>
                    <a:pt x="53795" y="11045"/>
                  </a:lnTo>
                  <a:lnTo>
                    <a:pt x="51750" y="11557"/>
                  </a:lnTo>
                  <a:lnTo>
                    <a:pt x="54000" y="11250"/>
                  </a:lnTo>
                  <a:lnTo>
                    <a:pt x="54000" y="11250"/>
                  </a:lnTo>
                  <a:lnTo>
                    <a:pt x="52057" y="11966"/>
                  </a:lnTo>
                  <a:lnTo>
                    <a:pt x="51239" y="13193"/>
                  </a:lnTo>
                  <a:lnTo>
                    <a:pt x="50932" y="12068"/>
                  </a:lnTo>
                  <a:lnTo>
                    <a:pt x="50727" y="11966"/>
                  </a:lnTo>
                  <a:lnTo>
                    <a:pt x="50625" y="11864"/>
                  </a:lnTo>
                  <a:lnTo>
                    <a:pt x="46943" y="11864"/>
                  </a:lnTo>
                  <a:lnTo>
                    <a:pt x="48375" y="11455"/>
                  </a:lnTo>
                  <a:lnTo>
                    <a:pt x="42341" y="10636"/>
                  </a:lnTo>
                  <a:lnTo>
                    <a:pt x="42852" y="10330"/>
                  </a:lnTo>
                  <a:lnTo>
                    <a:pt x="43057" y="9920"/>
                  </a:lnTo>
                  <a:lnTo>
                    <a:pt x="42545" y="10023"/>
                  </a:lnTo>
                  <a:lnTo>
                    <a:pt x="42750" y="10125"/>
                  </a:lnTo>
                  <a:lnTo>
                    <a:pt x="41420" y="10636"/>
                  </a:lnTo>
                  <a:lnTo>
                    <a:pt x="41420" y="9920"/>
                  </a:lnTo>
                  <a:lnTo>
                    <a:pt x="40909" y="9716"/>
                  </a:lnTo>
                  <a:lnTo>
                    <a:pt x="40909" y="9716"/>
                  </a:lnTo>
                  <a:lnTo>
                    <a:pt x="41011" y="9818"/>
                  </a:lnTo>
                  <a:lnTo>
                    <a:pt x="41114" y="9818"/>
                  </a:lnTo>
                  <a:lnTo>
                    <a:pt x="39580" y="10330"/>
                  </a:lnTo>
                  <a:lnTo>
                    <a:pt x="39989" y="10125"/>
                  </a:lnTo>
                  <a:lnTo>
                    <a:pt x="37841" y="10739"/>
                  </a:lnTo>
                  <a:lnTo>
                    <a:pt x="38045" y="10534"/>
                  </a:lnTo>
                  <a:lnTo>
                    <a:pt x="37739" y="10636"/>
                  </a:lnTo>
                  <a:lnTo>
                    <a:pt x="37841" y="10636"/>
                  </a:lnTo>
                  <a:lnTo>
                    <a:pt x="36409" y="11045"/>
                  </a:lnTo>
                  <a:lnTo>
                    <a:pt x="36102" y="11045"/>
                  </a:lnTo>
                  <a:lnTo>
                    <a:pt x="35898" y="11148"/>
                  </a:lnTo>
                  <a:lnTo>
                    <a:pt x="35898" y="11045"/>
                  </a:lnTo>
                  <a:lnTo>
                    <a:pt x="36102" y="11045"/>
                  </a:lnTo>
                  <a:lnTo>
                    <a:pt x="39682" y="9920"/>
                  </a:lnTo>
                  <a:lnTo>
                    <a:pt x="37330" y="10330"/>
                  </a:lnTo>
                  <a:lnTo>
                    <a:pt x="37432" y="10330"/>
                  </a:lnTo>
                  <a:lnTo>
                    <a:pt x="35795" y="10739"/>
                  </a:lnTo>
                  <a:lnTo>
                    <a:pt x="36307" y="10534"/>
                  </a:lnTo>
                  <a:lnTo>
                    <a:pt x="34466" y="10841"/>
                  </a:lnTo>
                  <a:lnTo>
                    <a:pt x="34670" y="10943"/>
                  </a:lnTo>
                  <a:lnTo>
                    <a:pt x="34364" y="11045"/>
                  </a:lnTo>
                  <a:lnTo>
                    <a:pt x="34568" y="11148"/>
                  </a:lnTo>
                  <a:lnTo>
                    <a:pt x="25466" y="9716"/>
                  </a:lnTo>
                  <a:lnTo>
                    <a:pt x="25773" y="9614"/>
                  </a:lnTo>
                  <a:lnTo>
                    <a:pt x="25466" y="9614"/>
                  </a:lnTo>
                  <a:lnTo>
                    <a:pt x="25466" y="9511"/>
                  </a:lnTo>
                  <a:lnTo>
                    <a:pt x="25364" y="9511"/>
                  </a:lnTo>
                  <a:lnTo>
                    <a:pt x="25773" y="9409"/>
                  </a:lnTo>
                  <a:lnTo>
                    <a:pt x="24239" y="9307"/>
                  </a:lnTo>
                  <a:lnTo>
                    <a:pt x="24341" y="9205"/>
                  </a:lnTo>
                  <a:lnTo>
                    <a:pt x="23318" y="9409"/>
                  </a:lnTo>
                  <a:lnTo>
                    <a:pt x="23318" y="9307"/>
                  </a:lnTo>
                  <a:lnTo>
                    <a:pt x="24034" y="9102"/>
                  </a:lnTo>
                  <a:lnTo>
                    <a:pt x="23625" y="9000"/>
                  </a:lnTo>
                  <a:lnTo>
                    <a:pt x="23727" y="8898"/>
                  </a:lnTo>
                  <a:lnTo>
                    <a:pt x="23727" y="8898"/>
                  </a:lnTo>
                  <a:lnTo>
                    <a:pt x="21068" y="9409"/>
                  </a:lnTo>
                  <a:lnTo>
                    <a:pt x="21068" y="9409"/>
                  </a:lnTo>
                  <a:lnTo>
                    <a:pt x="21273" y="9307"/>
                  </a:lnTo>
                  <a:lnTo>
                    <a:pt x="20455" y="9511"/>
                  </a:lnTo>
                  <a:lnTo>
                    <a:pt x="20761" y="9614"/>
                  </a:lnTo>
                  <a:lnTo>
                    <a:pt x="20148" y="9818"/>
                  </a:lnTo>
                  <a:lnTo>
                    <a:pt x="20045" y="9818"/>
                  </a:lnTo>
                  <a:lnTo>
                    <a:pt x="20455" y="9614"/>
                  </a:lnTo>
                  <a:lnTo>
                    <a:pt x="18637" y="9901"/>
                  </a:lnTo>
                  <a:lnTo>
                    <a:pt x="18637" y="9901"/>
                  </a:lnTo>
                  <a:lnTo>
                    <a:pt x="13295" y="11455"/>
                  </a:lnTo>
                  <a:lnTo>
                    <a:pt x="13398" y="11455"/>
                  </a:lnTo>
                  <a:lnTo>
                    <a:pt x="13193" y="11557"/>
                  </a:lnTo>
                  <a:lnTo>
                    <a:pt x="14011" y="12273"/>
                  </a:lnTo>
                  <a:lnTo>
                    <a:pt x="13909" y="12682"/>
                  </a:lnTo>
                  <a:lnTo>
                    <a:pt x="14625" y="12580"/>
                  </a:lnTo>
                  <a:lnTo>
                    <a:pt x="14625" y="12580"/>
                  </a:lnTo>
                  <a:lnTo>
                    <a:pt x="14523" y="12682"/>
                  </a:lnTo>
                  <a:lnTo>
                    <a:pt x="14932" y="12682"/>
                  </a:lnTo>
                  <a:lnTo>
                    <a:pt x="14523" y="12989"/>
                  </a:lnTo>
                  <a:lnTo>
                    <a:pt x="15341" y="13091"/>
                  </a:lnTo>
                  <a:lnTo>
                    <a:pt x="14727" y="13193"/>
                  </a:lnTo>
                  <a:lnTo>
                    <a:pt x="14523" y="12989"/>
                  </a:lnTo>
                  <a:lnTo>
                    <a:pt x="14420" y="12886"/>
                  </a:lnTo>
                  <a:lnTo>
                    <a:pt x="14420" y="12784"/>
                  </a:lnTo>
                  <a:lnTo>
                    <a:pt x="14114" y="12989"/>
                  </a:lnTo>
                  <a:lnTo>
                    <a:pt x="14114" y="13295"/>
                  </a:lnTo>
                  <a:lnTo>
                    <a:pt x="14523" y="13295"/>
                  </a:lnTo>
                  <a:lnTo>
                    <a:pt x="14420" y="13398"/>
                  </a:lnTo>
                  <a:lnTo>
                    <a:pt x="12375" y="13398"/>
                  </a:lnTo>
                  <a:lnTo>
                    <a:pt x="12886" y="13091"/>
                  </a:lnTo>
                  <a:lnTo>
                    <a:pt x="11250" y="13398"/>
                  </a:lnTo>
                  <a:lnTo>
                    <a:pt x="11352" y="13398"/>
                  </a:lnTo>
                  <a:lnTo>
                    <a:pt x="9205" y="13909"/>
                  </a:lnTo>
                  <a:lnTo>
                    <a:pt x="9818" y="14216"/>
                  </a:lnTo>
                  <a:lnTo>
                    <a:pt x="9102" y="14318"/>
                  </a:lnTo>
                  <a:lnTo>
                    <a:pt x="9205" y="14523"/>
                  </a:lnTo>
                  <a:lnTo>
                    <a:pt x="9102" y="14932"/>
                  </a:lnTo>
                  <a:lnTo>
                    <a:pt x="11045" y="14932"/>
                  </a:lnTo>
                  <a:lnTo>
                    <a:pt x="11045" y="15034"/>
                  </a:lnTo>
                  <a:lnTo>
                    <a:pt x="12580" y="14625"/>
                  </a:lnTo>
                  <a:lnTo>
                    <a:pt x="12784" y="14830"/>
                  </a:lnTo>
                  <a:lnTo>
                    <a:pt x="12068" y="15034"/>
                  </a:lnTo>
                  <a:lnTo>
                    <a:pt x="11659" y="15648"/>
                  </a:lnTo>
                  <a:lnTo>
                    <a:pt x="10534" y="15852"/>
                  </a:lnTo>
                  <a:lnTo>
                    <a:pt x="8795" y="16261"/>
                  </a:lnTo>
                  <a:lnTo>
                    <a:pt x="8489" y="16159"/>
                  </a:lnTo>
                  <a:lnTo>
                    <a:pt x="7745" y="16624"/>
                  </a:lnTo>
                  <a:lnTo>
                    <a:pt x="7745" y="16624"/>
                  </a:lnTo>
                  <a:lnTo>
                    <a:pt x="5727" y="17489"/>
                  </a:lnTo>
                  <a:lnTo>
                    <a:pt x="5830" y="17489"/>
                  </a:lnTo>
                  <a:lnTo>
                    <a:pt x="5420" y="17693"/>
                  </a:lnTo>
                  <a:lnTo>
                    <a:pt x="5625" y="17693"/>
                  </a:lnTo>
                  <a:lnTo>
                    <a:pt x="5318" y="17898"/>
                  </a:lnTo>
                  <a:lnTo>
                    <a:pt x="5420" y="17898"/>
                  </a:lnTo>
                  <a:lnTo>
                    <a:pt x="5318" y="18102"/>
                  </a:lnTo>
                  <a:lnTo>
                    <a:pt x="5318" y="18102"/>
                  </a:lnTo>
                  <a:lnTo>
                    <a:pt x="5727" y="17898"/>
                  </a:lnTo>
                  <a:lnTo>
                    <a:pt x="5625" y="18000"/>
                  </a:lnTo>
                  <a:lnTo>
                    <a:pt x="5727" y="18000"/>
                  </a:lnTo>
                  <a:lnTo>
                    <a:pt x="5625" y="18102"/>
                  </a:lnTo>
                  <a:lnTo>
                    <a:pt x="5830" y="18102"/>
                  </a:lnTo>
                  <a:lnTo>
                    <a:pt x="5420" y="18205"/>
                  </a:lnTo>
                  <a:lnTo>
                    <a:pt x="6545" y="18307"/>
                  </a:lnTo>
                  <a:lnTo>
                    <a:pt x="6239" y="18307"/>
                  </a:lnTo>
                  <a:lnTo>
                    <a:pt x="6443" y="18409"/>
                  </a:lnTo>
                  <a:lnTo>
                    <a:pt x="6034" y="18614"/>
                  </a:lnTo>
                  <a:lnTo>
                    <a:pt x="6034" y="18614"/>
                  </a:lnTo>
                  <a:lnTo>
                    <a:pt x="6136" y="18409"/>
                  </a:lnTo>
                  <a:lnTo>
                    <a:pt x="5625" y="18511"/>
                  </a:lnTo>
                  <a:lnTo>
                    <a:pt x="5625" y="18307"/>
                  </a:lnTo>
                  <a:lnTo>
                    <a:pt x="4807" y="18614"/>
                  </a:lnTo>
                  <a:lnTo>
                    <a:pt x="5011" y="18614"/>
                  </a:lnTo>
                  <a:lnTo>
                    <a:pt x="5011" y="19227"/>
                  </a:lnTo>
                  <a:lnTo>
                    <a:pt x="7466" y="18511"/>
                  </a:lnTo>
                  <a:lnTo>
                    <a:pt x="7466" y="18511"/>
                  </a:lnTo>
                  <a:lnTo>
                    <a:pt x="5727" y="19943"/>
                  </a:lnTo>
                  <a:lnTo>
                    <a:pt x="5932" y="19943"/>
                  </a:lnTo>
                  <a:lnTo>
                    <a:pt x="5011" y="20352"/>
                  </a:lnTo>
                  <a:lnTo>
                    <a:pt x="6750" y="20045"/>
                  </a:lnTo>
                  <a:lnTo>
                    <a:pt x="7159" y="20352"/>
                  </a:lnTo>
                  <a:lnTo>
                    <a:pt x="8386" y="20045"/>
                  </a:lnTo>
                  <a:lnTo>
                    <a:pt x="8386" y="20045"/>
                  </a:lnTo>
                  <a:lnTo>
                    <a:pt x="7875" y="20352"/>
                  </a:lnTo>
                  <a:lnTo>
                    <a:pt x="7875" y="20352"/>
                  </a:lnTo>
                  <a:lnTo>
                    <a:pt x="9511" y="19943"/>
                  </a:lnTo>
                  <a:lnTo>
                    <a:pt x="8080" y="20761"/>
                  </a:lnTo>
                  <a:lnTo>
                    <a:pt x="8182" y="20864"/>
                  </a:lnTo>
                  <a:lnTo>
                    <a:pt x="5523" y="22193"/>
                  </a:lnTo>
                  <a:lnTo>
                    <a:pt x="5523" y="22091"/>
                  </a:lnTo>
                  <a:lnTo>
                    <a:pt x="3375" y="22909"/>
                  </a:lnTo>
                  <a:lnTo>
                    <a:pt x="3375" y="23114"/>
                  </a:lnTo>
                  <a:lnTo>
                    <a:pt x="3170" y="23011"/>
                  </a:lnTo>
                  <a:lnTo>
                    <a:pt x="2966" y="23114"/>
                  </a:lnTo>
                  <a:lnTo>
                    <a:pt x="2966" y="23114"/>
                  </a:lnTo>
                  <a:lnTo>
                    <a:pt x="3170" y="22909"/>
                  </a:lnTo>
                  <a:lnTo>
                    <a:pt x="2864" y="23011"/>
                  </a:lnTo>
                  <a:lnTo>
                    <a:pt x="2864" y="23011"/>
                  </a:lnTo>
                  <a:lnTo>
                    <a:pt x="2966" y="22909"/>
                  </a:lnTo>
                  <a:lnTo>
                    <a:pt x="1120" y="23634"/>
                  </a:lnTo>
                  <a:lnTo>
                    <a:pt x="1120" y="23634"/>
                  </a:lnTo>
                  <a:lnTo>
                    <a:pt x="1023" y="23830"/>
                  </a:lnTo>
                  <a:lnTo>
                    <a:pt x="2276" y="23472"/>
                  </a:lnTo>
                  <a:lnTo>
                    <a:pt x="2276" y="23472"/>
                  </a:lnTo>
                  <a:lnTo>
                    <a:pt x="3886" y="23114"/>
                  </a:lnTo>
                  <a:lnTo>
                    <a:pt x="3682" y="23318"/>
                  </a:lnTo>
                  <a:lnTo>
                    <a:pt x="5069" y="22823"/>
                  </a:lnTo>
                  <a:lnTo>
                    <a:pt x="5069" y="22823"/>
                  </a:lnTo>
                  <a:lnTo>
                    <a:pt x="5216" y="22602"/>
                  </a:lnTo>
                  <a:lnTo>
                    <a:pt x="5932" y="22398"/>
                  </a:lnTo>
                  <a:lnTo>
                    <a:pt x="5830" y="22398"/>
                  </a:lnTo>
                  <a:lnTo>
                    <a:pt x="10534" y="20761"/>
                  </a:lnTo>
                  <a:lnTo>
                    <a:pt x="10432" y="20761"/>
                  </a:lnTo>
                  <a:lnTo>
                    <a:pt x="11352" y="20352"/>
                  </a:lnTo>
                  <a:lnTo>
                    <a:pt x="11455" y="19943"/>
                  </a:lnTo>
                  <a:lnTo>
                    <a:pt x="12580" y="19330"/>
                  </a:lnTo>
                  <a:lnTo>
                    <a:pt x="12580" y="19432"/>
                  </a:lnTo>
                  <a:lnTo>
                    <a:pt x="12886" y="19330"/>
                  </a:lnTo>
                  <a:lnTo>
                    <a:pt x="12886" y="19227"/>
                  </a:lnTo>
                  <a:lnTo>
                    <a:pt x="17386" y="17693"/>
                  </a:lnTo>
                  <a:lnTo>
                    <a:pt x="16568" y="18102"/>
                  </a:lnTo>
                  <a:lnTo>
                    <a:pt x="16875" y="18205"/>
                  </a:lnTo>
                  <a:lnTo>
                    <a:pt x="16875" y="18307"/>
                  </a:lnTo>
                  <a:lnTo>
                    <a:pt x="14011" y="19125"/>
                  </a:lnTo>
                  <a:lnTo>
                    <a:pt x="14318" y="19330"/>
                  </a:lnTo>
                  <a:lnTo>
                    <a:pt x="13193" y="19841"/>
                  </a:lnTo>
                  <a:lnTo>
                    <a:pt x="15443" y="19227"/>
                  </a:lnTo>
                  <a:lnTo>
                    <a:pt x="15443" y="19227"/>
                  </a:lnTo>
                  <a:lnTo>
                    <a:pt x="15341" y="19330"/>
                  </a:lnTo>
                  <a:lnTo>
                    <a:pt x="15852" y="19023"/>
                  </a:lnTo>
                  <a:lnTo>
                    <a:pt x="15852" y="19125"/>
                  </a:lnTo>
                  <a:lnTo>
                    <a:pt x="17284" y="18614"/>
                  </a:lnTo>
                  <a:lnTo>
                    <a:pt x="16875" y="18614"/>
                  </a:lnTo>
                  <a:lnTo>
                    <a:pt x="17284" y="18409"/>
                  </a:lnTo>
                  <a:lnTo>
                    <a:pt x="17182" y="18409"/>
                  </a:lnTo>
                  <a:lnTo>
                    <a:pt x="17554" y="18186"/>
                  </a:lnTo>
                  <a:lnTo>
                    <a:pt x="17554" y="18186"/>
                  </a:lnTo>
                  <a:lnTo>
                    <a:pt x="18205" y="18000"/>
                  </a:lnTo>
                  <a:lnTo>
                    <a:pt x="18205" y="18000"/>
                  </a:lnTo>
                  <a:lnTo>
                    <a:pt x="17795" y="18307"/>
                  </a:lnTo>
                  <a:lnTo>
                    <a:pt x="19125" y="18102"/>
                  </a:lnTo>
                  <a:lnTo>
                    <a:pt x="18614" y="18409"/>
                  </a:lnTo>
                  <a:lnTo>
                    <a:pt x="18818" y="18409"/>
                  </a:lnTo>
                  <a:lnTo>
                    <a:pt x="18818" y="18511"/>
                  </a:lnTo>
                  <a:lnTo>
                    <a:pt x="19125" y="18511"/>
                  </a:lnTo>
                  <a:lnTo>
                    <a:pt x="18818" y="18716"/>
                  </a:lnTo>
                  <a:lnTo>
                    <a:pt x="19227" y="18716"/>
                  </a:lnTo>
                  <a:lnTo>
                    <a:pt x="19841" y="18511"/>
                  </a:lnTo>
                  <a:lnTo>
                    <a:pt x="19432" y="18920"/>
                  </a:lnTo>
                  <a:lnTo>
                    <a:pt x="19636" y="19125"/>
                  </a:lnTo>
                  <a:lnTo>
                    <a:pt x="21682" y="19023"/>
                  </a:lnTo>
                  <a:lnTo>
                    <a:pt x="21682" y="19023"/>
                  </a:lnTo>
                  <a:lnTo>
                    <a:pt x="21477" y="19227"/>
                  </a:lnTo>
                  <a:lnTo>
                    <a:pt x="23216" y="19227"/>
                  </a:lnTo>
                  <a:lnTo>
                    <a:pt x="22295" y="19534"/>
                  </a:lnTo>
                  <a:lnTo>
                    <a:pt x="22909" y="19943"/>
                  </a:lnTo>
                  <a:lnTo>
                    <a:pt x="22807" y="19943"/>
                  </a:lnTo>
                  <a:lnTo>
                    <a:pt x="23216" y="20659"/>
                  </a:lnTo>
                  <a:lnTo>
                    <a:pt x="23830" y="20659"/>
                  </a:lnTo>
                  <a:lnTo>
                    <a:pt x="23830" y="20455"/>
                  </a:lnTo>
                  <a:lnTo>
                    <a:pt x="24034" y="20352"/>
                  </a:lnTo>
                  <a:lnTo>
                    <a:pt x="23625" y="20148"/>
                  </a:lnTo>
                  <a:lnTo>
                    <a:pt x="24545" y="20045"/>
                  </a:lnTo>
                  <a:lnTo>
                    <a:pt x="24443" y="20148"/>
                  </a:lnTo>
                  <a:lnTo>
                    <a:pt x="24648" y="20148"/>
                  </a:lnTo>
                  <a:lnTo>
                    <a:pt x="24136" y="20659"/>
                  </a:lnTo>
                  <a:lnTo>
                    <a:pt x="24545" y="20761"/>
                  </a:lnTo>
                  <a:lnTo>
                    <a:pt x="25466" y="19636"/>
                  </a:lnTo>
                  <a:lnTo>
                    <a:pt x="24955" y="20557"/>
                  </a:lnTo>
                  <a:lnTo>
                    <a:pt x="25159" y="20761"/>
                  </a:lnTo>
                  <a:lnTo>
                    <a:pt x="25670" y="20557"/>
                  </a:lnTo>
                  <a:lnTo>
                    <a:pt x="25159" y="20966"/>
                  </a:lnTo>
                  <a:lnTo>
                    <a:pt x="25568" y="21170"/>
                  </a:lnTo>
                  <a:lnTo>
                    <a:pt x="24750" y="21784"/>
                  </a:lnTo>
                  <a:lnTo>
                    <a:pt x="25159" y="21886"/>
                  </a:lnTo>
                  <a:lnTo>
                    <a:pt x="25159" y="22193"/>
                  </a:lnTo>
                  <a:lnTo>
                    <a:pt x="25057" y="22295"/>
                  </a:lnTo>
                  <a:lnTo>
                    <a:pt x="25364" y="22705"/>
                  </a:lnTo>
                  <a:lnTo>
                    <a:pt x="24648" y="23114"/>
                  </a:lnTo>
                  <a:lnTo>
                    <a:pt x="24545" y="23420"/>
                  </a:lnTo>
                  <a:lnTo>
                    <a:pt x="25670" y="22807"/>
                  </a:lnTo>
                  <a:lnTo>
                    <a:pt x="24750" y="24136"/>
                  </a:lnTo>
                  <a:lnTo>
                    <a:pt x="26284" y="23011"/>
                  </a:lnTo>
                  <a:lnTo>
                    <a:pt x="26284" y="23011"/>
                  </a:lnTo>
                  <a:lnTo>
                    <a:pt x="25568" y="23830"/>
                  </a:lnTo>
                  <a:lnTo>
                    <a:pt x="25568" y="23830"/>
                  </a:lnTo>
                  <a:lnTo>
                    <a:pt x="26182" y="23318"/>
                  </a:lnTo>
                  <a:lnTo>
                    <a:pt x="26182" y="23495"/>
                  </a:lnTo>
                  <a:lnTo>
                    <a:pt x="26182" y="23495"/>
                  </a:lnTo>
                  <a:lnTo>
                    <a:pt x="24750" y="24545"/>
                  </a:lnTo>
                  <a:lnTo>
                    <a:pt x="25159" y="24648"/>
                  </a:lnTo>
                  <a:lnTo>
                    <a:pt x="24443" y="25364"/>
                  </a:lnTo>
                  <a:lnTo>
                    <a:pt x="24443" y="25568"/>
                  </a:lnTo>
                  <a:lnTo>
                    <a:pt x="25261" y="25261"/>
                  </a:lnTo>
                  <a:lnTo>
                    <a:pt x="25364" y="25159"/>
                  </a:lnTo>
                  <a:lnTo>
                    <a:pt x="25773" y="25057"/>
                  </a:lnTo>
                  <a:lnTo>
                    <a:pt x="25364" y="25261"/>
                  </a:lnTo>
                  <a:lnTo>
                    <a:pt x="25773" y="25568"/>
                  </a:lnTo>
                  <a:lnTo>
                    <a:pt x="25261" y="25261"/>
                  </a:lnTo>
                  <a:lnTo>
                    <a:pt x="24955" y="25466"/>
                  </a:lnTo>
                  <a:lnTo>
                    <a:pt x="25364" y="25977"/>
                  </a:lnTo>
                  <a:lnTo>
                    <a:pt x="24750" y="26489"/>
                  </a:lnTo>
                  <a:lnTo>
                    <a:pt x="24750" y="26489"/>
                  </a:lnTo>
                  <a:lnTo>
                    <a:pt x="25159" y="26284"/>
                  </a:lnTo>
                  <a:lnTo>
                    <a:pt x="24545" y="26693"/>
                  </a:lnTo>
                  <a:lnTo>
                    <a:pt x="24443" y="27000"/>
                  </a:lnTo>
                  <a:lnTo>
                    <a:pt x="26080" y="25977"/>
                  </a:lnTo>
                  <a:lnTo>
                    <a:pt x="25670" y="26386"/>
                  </a:lnTo>
                  <a:lnTo>
                    <a:pt x="25773" y="26795"/>
                  </a:lnTo>
                  <a:lnTo>
                    <a:pt x="25568" y="26489"/>
                  </a:lnTo>
                  <a:lnTo>
                    <a:pt x="24852" y="26795"/>
                  </a:lnTo>
                  <a:lnTo>
                    <a:pt x="24955" y="26795"/>
                  </a:lnTo>
                  <a:lnTo>
                    <a:pt x="24545" y="27307"/>
                  </a:lnTo>
                  <a:lnTo>
                    <a:pt x="25466" y="27102"/>
                  </a:lnTo>
                  <a:lnTo>
                    <a:pt x="24341" y="27614"/>
                  </a:lnTo>
                  <a:lnTo>
                    <a:pt x="25159" y="27818"/>
                  </a:lnTo>
                  <a:lnTo>
                    <a:pt x="25057" y="27920"/>
                  </a:lnTo>
                  <a:lnTo>
                    <a:pt x="25159" y="28023"/>
                  </a:lnTo>
                  <a:lnTo>
                    <a:pt x="24852" y="28125"/>
                  </a:lnTo>
                  <a:lnTo>
                    <a:pt x="25364" y="28125"/>
                  </a:lnTo>
                  <a:lnTo>
                    <a:pt x="24852" y="28227"/>
                  </a:lnTo>
                  <a:lnTo>
                    <a:pt x="25977" y="28227"/>
                  </a:lnTo>
                  <a:lnTo>
                    <a:pt x="26284" y="27920"/>
                  </a:lnTo>
                  <a:lnTo>
                    <a:pt x="25773" y="28841"/>
                  </a:lnTo>
                  <a:lnTo>
                    <a:pt x="26591" y="28636"/>
                  </a:lnTo>
                  <a:lnTo>
                    <a:pt x="26489" y="29148"/>
                  </a:lnTo>
                  <a:lnTo>
                    <a:pt x="26182" y="29352"/>
                  </a:lnTo>
                  <a:lnTo>
                    <a:pt x="26182" y="29352"/>
                  </a:lnTo>
                  <a:lnTo>
                    <a:pt x="26795" y="29148"/>
                  </a:lnTo>
                  <a:lnTo>
                    <a:pt x="26489" y="29455"/>
                  </a:lnTo>
                  <a:lnTo>
                    <a:pt x="26898" y="29455"/>
                  </a:lnTo>
                  <a:lnTo>
                    <a:pt x="26489" y="29659"/>
                  </a:lnTo>
                  <a:lnTo>
                    <a:pt x="26489" y="29864"/>
                  </a:lnTo>
                  <a:lnTo>
                    <a:pt x="26591" y="30068"/>
                  </a:lnTo>
                  <a:lnTo>
                    <a:pt x="26693" y="30068"/>
                  </a:lnTo>
                  <a:lnTo>
                    <a:pt x="26386" y="30375"/>
                  </a:lnTo>
                  <a:lnTo>
                    <a:pt x="26386" y="30682"/>
                  </a:lnTo>
                  <a:lnTo>
                    <a:pt x="26489" y="30682"/>
                  </a:lnTo>
                  <a:lnTo>
                    <a:pt x="26386" y="30784"/>
                  </a:lnTo>
                  <a:lnTo>
                    <a:pt x="26386" y="30682"/>
                  </a:lnTo>
                  <a:lnTo>
                    <a:pt x="26080" y="31295"/>
                  </a:lnTo>
                  <a:lnTo>
                    <a:pt x="25670" y="31500"/>
                  </a:lnTo>
                  <a:lnTo>
                    <a:pt x="25568" y="31602"/>
                  </a:lnTo>
                  <a:lnTo>
                    <a:pt x="25568" y="31500"/>
                  </a:lnTo>
                  <a:lnTo>
                    <a:pt x="25670" y="31500"/>
                  </a:lnTo>
                  <a:lnTo>
                    <a:pt x="26182" y="30886"/>
                  </a:lnTo>
                  <a:lnTo>
                    <a:pt x="26182" y="30886"/>
                  </a:lnTo>
                  <a:lnTo>
                    <a:pt x="25466" y="31398"/>
                  </a:lnTo>
                  <a:lnTo>
                    <a:pt x="25875" y="30989"/>
                  </a:lnTo>
                  <a:lnTo>
                    <a:pt x="25875" y="31091"/>
                  </a:lnTo>
                  <a:lnTo>
                    <a:pt x="26182" y="30682"/>
                  </a:lnTo>
                  <a:lnTo>
                    <a:pt x="24852" y="30477"/>
                  </a:lnTo>
                  <a:lnTo>
                    <a:pt x="24341" y="31909"/>
                  </a:lnTo>
                  <a:lnTo>
                    <a:pt x="24545" y="31909"/>
                  </a:lnTo>
                  <a:lnTo>
                    <a:pt x="24136" y="32420"/>
                  </a:lnTo>
                  <a:lnTo>
                    <a:pt x="24136" y="32216"/>
                  </a:lnTo>
                  <a:lnTo>
                    <a:pt x="23932" y="32523"/>
                  </a:lnTo>
                  <a:lnTo>
                    <a:pt x="24545" y="32727"/>
                  </a:lnTo>
                  <a:lnTo>
                    <a:pt x="24034" y="32625"/>
                  </a:lnTo>
                  <a:lnTo>
                    <a:pt x="21989" y="35489"/>
                  </a:lnTo>
                  <a:lnTo>
                    <a:pt x="22091" y="35489"/>
                  </a:lnTo>
                  <a:lnTo>
                    <a:pt x="20557" y="38250"/>
                  </a:lnTo>
                  <a:lnTo>
                    <a:pt x="20557" y="38148"/>
                  </a:lnTo>
                  <a:lnTo>
                    <a:pt x="20250" y="38659"/>
                  </a:lnTo>
                  <a:lnTo>
                    <a:pt x="20348" y="40709"/>
                  </a:lnTo>
                  <a:lnTo>
                    <a:pt x="20348" y="40709"/>
                  </a:lnTo>
                  <a:lnTo>
                    <a:pt x="20148" y="40909"/>
                  </a:lnTo>
                  <a:lnTo>
                    <a:pt x="20455" y="41011"/>
                  </a:lnTo>
                  <a:lnTo>
                    <a:pt x="20761" y="40807"/>
                  </a:lnTo>
                  <a:lnTo>
                    <a:pt x="21477" y="40807"/>
                  </a:lnTo>
                  <a:lnTo>
                    <a:pt x="20761" y="40909"/>
                  </a:lnTo>
                  <a:lnTo>
                    <a:pt x="20761" y="41420"/>
                  </a:lnTo>
                  <a:lnTo>
                    <a:pt x="20557" y="41114"/>
                  </a:lnTo>
                  <a:lnTo>
                    <a:pt x="20352" y="41727"/>
                  </a:lnTo>
                  <a:lnTo>
                    <a:pt x="20557" y="42341"/>
                  </a:lnTo>
                  <a:lnTo>
                    <a:pt x="20352" y="42648"/>
                  </a:lnTo>
                  <a:lnTo>
                    <a:pt x="20864" y="43875"/>
                  </a:lnTo>
                  <a:lnTo>
                    <a:pt x="20761" y="44284"/>
                  </a:lnTo>
                  <a:lnTo>
                    <a:pt x="21068" y="44591"/>
                  </a:lnTo>
                  <a:lnTo>
                    <a:pt x="21477" y="44693"/>
                  </a:lnTo>
                  <a:lnTo>
                    <a:pt x="23011" y="47250"/>
                  </a:lnTo>
                  <a:lnTo>
                    <a:pt x="22909" y="47455"/>
                  </a:lnTo>
                  <a:lnTo>
                    <a:pt x="23216" y="49295"/>
                  </a:lnTo>
                  <a:lnTo>
                    <a:pt x="23932" y="50114"/>
                  </a:lnTo>
                  <a:lnTo>
                    <a:pt x="23932" y="51341"/>
                  </a:lnTo>
                  <a:lnTo>
                    <a:pt x="24034" y="51341"/>
                  </a:lnTo>
                  <a:lnTo>
                    <a:pt x="24034" y="51545"/>
                  </a:lnTo>
                  <a:lnTo>
                    <a:pt x="23830" y="51341"/>
                  </a:lnTo>
                  <a:lnTo>
                    <a:pt x="23216" y="51443"/>
                  </a:lnTo>
                  <a:lnTo>
                    <a:pt x="23830" y="52159"/>
                  </a:lnTo>
                  <a:lnTo>
                    <a:pt x="24648" y="52364"/>
                  </a:lnTo>
                  <a:lnTo>
                    <a:pt x="25261" y="54818"/>
                  </a:lnTo>
                  <a:lnTo>
                    <a:pt x="26795" y="56455"/>
                  </a:lnTo>
                  <a:lnTo>
                    <a:pt x="26898" y="55432"/>
                  </a:lnTo>
                  <a:lnTo>
                    <a:pt x="26386" y="55227"/>
                  </a:lnTo>
                  <a:lnTo>
                    <a:pt x="25773" y="52364"/>
                  </a:lnTo>
                  <a:lnTo>
                    <a:pt x="25773" y="52670"/>
                  </a:lnTo>
                  <a:lnTo>
                    <a:pt x="25261" y="50830"/>
                  </a:lnTo>
                  <a:lnTo>
                    <a:pt x="25057" y="50727"/>
                  </a:lnTo>
                  <a:lnTo>
                    <a:pt x="24341" y="48068"/>
                  </a:lnTo>
                  <a:lnTo>
                    <a:pt x="24545" y="47250"/>
                  </a:lnTo>
                  <a:lnTo>
                    <a:pt x="25159" y="47659"/>
                  </a:lnTo>
                  <a:lnTo>
                    <a:pt x="25364" y="47557"/>
                  </a:lnTo>
                  <a:lnTo>
                    <a:pt x="25466" y="47761"/>
                  </a:lnTo>
                  <a:lnTo>
                    <a:pt x="25875" y="47966"/>
                  </a:lnTo>
                  <a:lnTo>
                    <a:pt x="26591" y="51034"/>
                  </a:lnTo>
                  <a:lnTo>
                    <a:pt x="27205" y="51341"/>
                  </a:lnTo>
                  <a:lnTo>
                    <a:pt x="27000" y="51852"/>
                  </a:lnTo>
                  <a:lnTo>
                    <a:pt x="28023" y="53080"/>
                  </a:lnTo>
                  <a:lnTo>
                    <a:pt x="27920" y="52977"/>
                  </a:lnTo>
                  <a:lnTo>
                    <a:pt x="28125" y="53591"/>
                  </a:lnTo>
                  <a:lnTo>
                    <a:pt x="27920" y="53795"/>
                  </a:lnTo>
                  <a:lnTo>
                    <a:pt x="28636" y="54307"/>
                  </a:lnTo>
                  <a:lnTo>
                    <a:pt x="28432" y="54205"/>
                  </a:lnTo>
                  <a:lnTo>
                    <a:pt x="29045" y="54920"/>
                  </a:lnTo>
                  <a:lnTo>
                    <a:pt x="28841" y="54920"/>
                  </a:lnTo>
                  <a:lnTo>
                    <a:pt x="29761" y="56148"/>
                  </a:lnTo>
                  <a:lnTo>
                    <a:pt x="30477" y="58091"/>
                  </a:lnTo>
                  <a:lnTo>
                    <a:pt x="29966" y="59216"/>
                  </a:lnTo>
                  <a:lnTo>
                    <a:pt x="37534" y="63920"/>
                  </a:lnTo>
                  <a:lnTo>
                    <a:pt x="39068" y="63307"/>
                  </a:lnTo>
                  <a:lnTo>
                    <a:pt x="39170" y="63307"/>
                  </a:lnTo>
                  <a:lnTo>
                    <a:pt x="39784" y="63614"/>
                  </a:lnTo>
                  <a:lnTo>
                    <a:pt x="39784" y="63614"/>
                  </a:lnTo>
                  <a:lnTo>
                    <a:pt x="39375" y="63307"/>
                  </a:lnTo>
                  <a:lnTo>
                    <a:pt x="39375" y="63307"/>
                  </a:lnTo>
                  <a:lnTo>
                    <a:pt x="44284" y="66375"/>
                  </a:lnTo>
                  <a:lnTo>
                    <a:pt x="45000" y="66273"/>
                  </a:lnTo>
                  <a:lnTo>
                    <a:pt x="45409" y="66682"/>
                  </a:lnTo>
                  <a:lnTo>
                    <a:pt x="45307" y="66989"/>
                  </a:lnTo>
                  <a:lnTo>
                    <a:pt x="46534" y="68830"/>
                  </a:lnTo>
                  <a:lnTo>
                    <a:pt x="46534" y="69443"/>
                  </a:lnTo>
                  <a:lnTo>
                    <a:pt x="47148" y="70159"/>
                  </a:lnTo>
                  <a:lnTo>
                    <a:pt x="47352" y="69852"/>
                  </a:lnTo>
                  <a:lnTo>
                    <a:pt x="47045" y="69443"/>
                  </a:lnTo>
                  <a:lnTo>
                    <a:pt x="47045" y="69443"/>
                  </a:lnTo>
                  <a:lnTo>
                    <a:pt x="48784" y="71386"/>
                  </a:lnTo>
                  <a:lnTo>
                    <a:pt x="48784" y="71386"/>
                  </a:lnTo>
                  <a:lnTo>
                    <a:pt x="48580" y="71080"/>
                  </a:lnTo>
                  <a:lnTo>
                    <a:pt x="49091" y="71693"/>
                  </a:lnTo>
                  <a:lnTo>
                    <a:pt x="49705" y="71489"/>
                  </a:lnTo>
                  <a:lnTo>
                    <a:pt x="50625" y="72205"/>
                  </a:lnTo>
                  <a:lnTo>
                    <a:pt x="50727" y="71898"/>
                  </a:lnTo>
                  <a:lnTo>
                    <a:pt x="51136" y="72614"/>
                  </a:lnTo>
                  <a:lnTo>
                    <a:pt x="51648" y="72307"/>
                  </a:lnTo>
                  <a:lnTo>
                    <a:pt x="51341" y="71693"/>
                  </a:lnTo>
                  <a:lnTo>
                    <a:pt x="52670" y="70773"/>
                  </a:lnTo>
                  <a:lnTo>
                    <a:pt x="53182" y="71489"/>
                  </a:lnTo>
                  <a:lnTo>
                    <a:pt x="53182" y="71284"/>
                  </a:lnTo>
                  <a:lnTo>
                    <a:pt x="53386" y="71386"/>
                  </a:lnTo>
                  <a:lnTo>
                    <a:pt x="53489" y="71284"/>
                  </a:lnTo>
                  <a:lnTo>
                    <a:pt x="53693" y="71693"/>
                  </a:lnTo>
                  <a:lnTo>
                    <a:pt x="53386" y="71386"/>
                  </a:lnTo>
                  <a:lnTo>
                    <a:pt x="53182" y="71795"/>
                  </a:lnTo>
                  <a:lnTo>
                    <a:pt x="53795" y="75682"/>
                  </a:lnTo>
                  <a:lnTo>
                    <a:pt x="53898" y="75682"/>
                  </a:lnTo>
                  <a:lnTo>
                    <a:pt x="53898" y="75989"/>
                  </a:lnTo>
                  <a:lnTo>
                    <a:pt x="54000" y="75886"/>
                  </a:lnTo>
                  <a:lnTo>
                    <a:pt x="54205" y="75989"/>
                  </a:lnTo>
                  <a:lnTo>
                    <a:pt x="53489" y="77216"/>
                  </a:lnTo>
                  <a:lnTo>
                    <a:pt x="52977" y="77523"/>
                  </a:lnTo>
                  <a:lnTo>
                    <a:pt x="52773" y="78239"/>
                  </a:lnTo>
                  <a:lnTo>
                    <a:pt x="52364" y="78341"/>
                  </a:lnTo>
                  <a:lnTo>
                    <a:pt x="52568" y="78750"/>
                  </a:lnTo>
                  <a:lnTo>
                    <a:pt x="51648" y="79159"/>
                  </a:lnTo>
                  <a:lnTo>
                    <a:pt x="51239" y="80693"/>
                  </a:lnTo>
                  <a:lnTo>
                    <a:pt x="51034" y="80591"/>
                  </a:lnTo>
                  <a:lnTo>
                    <a:pt x="50727" y="81307"/>
                  </a:lnTo>
                  <a:lnTo>
                    <a:pt x="50727" y="82227"/>
                  </a:lnTo>
                  <a:lnTo>
                    <a:pt x="51034" y="82739"/>
                  </a:lnTo>
                  <a:lnTo>
                    <a:pt x="51545" y="82432"/>
                  </a:lnTo>
                  <a:lnTo>
                    <a:pt x="51648" y="82125"/>
                  </a:lnTo>
                  <a:lnTo>
                    <a:pt x="51750" y="82841"/>
                  </a:lnTo>
                  <a:lnTo>
                    <a:pt x="50318" y="84886"/>
                  </a:lnTo>
                  <a:lnTo>
                    <a:pt x="50830" y="85909"/>
                  </a:lnTo>
                  <a:lnTo>
                    <a:pt x="50625" y="86011"/>
                  </a:lnTo>
                  <a:lnTo>
                    <a:pt x="60852" y="98693"/>
                  </a:lnTo>
                  <a:lnTo>
                    <a:pt x="61977" y="118125"/>
                  </a:lnTo>
                  <a:lnTo>
                    <a:pt x="61670" y="118330"/>
                  </a:lnTo>
                  <a:lnTo>
                    <a:pt x="63102" y="122932"/>
                  </a:lnTo>
                  <a:lnTo>
                    <a:pt x="64125" y="122625"/>
                  </a:lnTo>
                  <a:lnTo>
                    <a:pt x="63818" y="123136"/>
                  </a:lnTo>
                  <a:lnTo>
                    <a:pt x="64125" y="123136"/>
                  </a:lnTo>
                  <a:lnTo>
                    <a:pt x="64330" y="123648"/>
                  </a:lnTo>
                  <a:lnTo>
                    <a:pt x="64023" y="123648"/>
                  </a:lnTo>
                  <a:lnTo>
                    <a:pt x="64227" y="125284"/>
                  </a:lnTo>
                  <a:lnTo>
                    <a:pt x="64636" y="125489"/>
                  </a:lnTo>
                  <a:lnTo>
                    <a:pt x="64534" y="126511"/>
                  </a:lnTo>
                  <a:lnTo>
                    <a:pt x="64943" y="126716"/>
                  </a:lnTo>
                  <a:lnTo>
                    <a:pt x="64330" y="126716"/>
                  </a:lnTo>
                  <a:lnTo>
                    <a:pt x="64636" y="127432"/>
                  </a:lnTo>
                  <a:lnTo>
                    <a:pt x="64534" y="127739"/>
                  </a:lnTo>
                  <a:lnTo>
                    <a:pt x="64330" y="127023"/>
                  </a:lnTo>
                  <a:lnTo>
                    <a:pt x="64023" y="127432"/>
                  </a:lnTo>
                  <a:lnTo>
                    <a:pt x="64023" y="127432"/>
                  </a:lnTo>
                  <a:lnTo>
                    <a:pt x="64227" y="127023"/>
                  </a:lnTo>
                  <a:lnTo>
                    <a:pt x="64023" y="126614"/>
                  </a:lnTo>
                  <a:lnTo>
                    <a:pt x="64023" y="127023"/>
                  </a:lnTo>
                  <a:lnTo>
                    <a:pt x="63409" y="127125"/>
                  </a:lnTo>
                  <a:lnTo>
                    <a:pt x="63614" y="127432"/>
                  </a:lnTo>
                  <a:lnTo>
                    <a:pt x="63205" y="127943"/>
                  </a:lnTo>
                  <a:lnTo>
                    <a:pt x="63205" y="127943"/>
                  </a:lnTo>
                  <a:lnTo>
                    <a:pt x="63716" y="127739"/>
                  </a:lnTo>
                  <a:lnTo>
                    <a:pt x="64227" y="128148"/>
                  </a:lnTo>
                  <a:lnTo>
                    <a:pt x="64227" y="128045"/>
                  </a:lnTo>
                  <a:lnTo>
                    <a:pt x="64534" y="128250"/>
                  </a:lnTo>
                  <a:lnTo>
                    <a:pt x="64534" y="128455"/>
                  </a:lnTo>
                  <a:lnTo>
                    <a:pt x="64432" y="128659"/>
                  </a:lnTo>
                  <a:lnTo>
                    <a:pt x="64636" y="129068"/>
                  </a:lnTo>
                  <a:lnTo>
                    <a:pt x="65148" y="128864"/>
                  </a:lnTo>
                  <a:lnTo>
                    <a:pt x="65557" y="129477"/>
                  </a:lnTo>
                  <a:lnTo>
                    <a:pt x="64534" y="129273"/>
                  </a:lnTo>
                  <a:lnTo>
                    <a:pt x="65148" y="129682"/>
                  </a:lnTo>
                  <a:lnTo>
                    <a:pt x="65455" y="130705"/>
                  </a:lnTo>
                  <a:lnTo>
                    <a:pt x="65352" y="130295"/>
                  </a:lnTo>
                  <a:lnTo>
                    <a:pt x="65455" y="130295"/>
                  </a:lnTo>
                  <a:lnTo>
                    <a:pt x="65864" y="131216"/>
                  </a:lnTo>
                  <a:lnTo>
                    <a:pt x="65352" y="131420"/>
                  </a:lnTo>
                  <a:lnTo>
                    <a:pt x="66068" y="131727"/>
                  </a:lnTo>
                  <a:lnTo>
                    <a:pt x="65864" y="131727"/>
                  </a:lnTo>
                  <a:lnTo>
                    <a:pt x="66170" y="132034"/>
                  </a:lnTo>
                  <a:lnTo>
                    <a:pt x="66273" y="131727"/>
                  </a:lnTo>
                  <a:lnTo>
                    <a:pt x="66375" y="131932"/>
                  </a:lnTo>
                  <a:lnTo>
                    <a:pt x="66375" y="132239"/>
                  </a:lnTo>
                  <a:lnTo>
                    <a:pt x="66170" y="132034"/>
                  </a:lnTo>
                  <a:lnTo>
                    <a:pt x="65557" y="131625"/>
                  </a:lnTo>
                  <a:lnTo>
                    <a:pt x="65250" y="131932"/>
                  </a:lnTo>
                  <a:lnTo>
                    <a:pt x="67193" y="133261"/>
                  </a:lnTo>
                  <a:lnTo>
                    <a:pt x="67398" y="133159"/>
                  </a:lnTo>
                  <a:lnTo>
                    <a:pt x="67091" y="132750"/>
                  </a:lnTo>
                  <a:lnTo>
                    <a:pt x="67705" y="133057"/>
                  </a:lnTo>
                  <a:lnTo>
                    <a:pt x="67398" y="133159"/>
                  </a:lnTo>
                  <a:lnTo>
                    <a:pt x="67500" y="133261"/>
                  </a:lnTo>
                  <a:lnTo>
                    <a:pt x="67602" y="133159"/>
                  </a:lnTo>
                  <a:lnTo>
                    <a:pt x="67807" y="133568"/>
                  </a:lnTo>
                  <a:lnTo>
                    <a:pt x="67807" y="133568"/>
                  </a:lnTo>
                  <a:lnTo>
                    <a:pt x="67500" y="133261"/>
                  </a:lnTo>
                  <a:lnTo>
                    <a:pt x="67295" y="133364"/>
                  </a:lnTo>
                  <a:lnTo>
                    <a:pt x="66477" y="133364"/>
                  </a:lnTo>
                  <a:lnTo>
                    <a:pt x="66886" y="133773"/>
                  </a:lnTo>
                  <a:lnTo>
                    <a:pt x="67500" y="133670"/>
                  </a:lnTo>
                  <a:lnTo>
                    <a:pt x="67295" y="134080"/>
                  </a:lnTo>
                  <a:lnTo>
                    <a:pt x="67705" y="134284"/>
                  </a:lnTo>
                  <a:lnTo>
                    <a:pt x="67807" y="134080"/>
                  </a:lnTo>
                  <a:lnTo>
                    <a:pt x="67926" y="134000"/>
                  </a:lnTo>
                  <a:lnTo>
                    <a:pt x="67926" y="134000"/>
                  </a:lnTo>
                  <a:lnTo>
                    <a:pt x="68420" y="134693"/>
                  </a:lnTo>
                  <a:lnTo>
                    <a:pt x="69136" y="133977"/>
                  </a:lnTo>
                  <a:lnTo>
                    <a:pt x="69136" y="134284"/>
                  </a:lnTo>
                  <a:lnTo>
                    <a:pt x="68932" y="134489"/>
                  </a:lnTo>
                  <a:lnTo>
                    <a:pt x="68932" y="134693"/>
                  </a:lnTo>
                  <a:lnTo>
                    <a:pt x="68727" y="134795"/>
                  </a:lnTo>
                  <a:lnTo>
                    <a:pt x="69750" y="134795"/>
                  </a:lnTo>
                  <a:lnTo>
                    <a:pt x="69545" y="134182"/>
                  </a:lnTo>
                  <a:lnTo>
                    <a:pt x="69767" y="133988"/>
                  </a:lnTo>
                  <a:lnTo>
                    <a:pt x="69767" y="133988"/>
                  </a:lnTo>
                  <a:lnTo>
                    <a:pt x="70057" y="134182"/>
                  </a:lnTo>
                  <a:lnTo>
                    <a:pt x="69852" y="134284"/>
                  </a:lnTo>
                  <a:lnTo>
                    <a:pt x="70568" y="134591"/>
                  </a:lnTo>
                  <a:lnTo>
                    <a:pt x="70364" y="135000"/>
                  </a:lnTo>
                  <a:lnTo>
                    <a:pt x="71489" y="135614"/>
                  </a:lnTo>
                  <a:lnTo>
                    <a:pt x="71386" y="135716"/>
                  </a:lnTo>
                  <a:lnTo>
                    <a:pt x="70159" y="135205"/>
                  </a:lnTo>
                  <a:lnTo>
                    <a:pt x="70364" y="135205"/>
                  </a:lnTo>
                  <a:lnTo>
                    <a:pt x="70057" y="135000"/>
                  </a:lnTo>
                  <a:lnTo>
                    <a:pt x="69955" y="135102"/>
                  </a:lnTo>
                  <a:lnTo>
                    <a:pt x="70568" y="135716"/>
                  </a:lnTo>
                  <a:lnTo>
                    <a:pt x="70057" y="135511"/>
                  </a:lnTo>
                  <a:lnTo>
                    <a:pt x="69443" y="135716"/>
                  </a:lnTo>
                  <a:lnTo>
                    <a:pt x="69545" y="135818"/>
                  </a:lnTo>
                  <a:lnTo>
                    <a:pt x="73943" y="136125"/>
                  </a:lnTo>
                  <a:lnTo>
                    <a:pt x="74557" y="135818"/>
                  </a:lnTo>
                  <a:lnTo>
                    <a:pt x="71489" y="134489"/>
                  </a:lnTo>
                  <a:lnTo>
                    <a:pt x="71591" y="134284"/>
                  </a:lnTo>
                  <a:lnTo>
                    <a:pt x="71080" y="133875"/>
                  </a:lnTo>
                  <a:lnTo>
                    <a:pt x="69782" y="133975"/>
                  </a:lnTo>
                  <a:lnTo>
                    <a:pt x="69782" y="133975"/>
                  </a:lnTo>
                  <a:lnTo>
                    <a:pt x="70364" y="133466"/>
                  </a:lnTo>
                  <a:lnTo>
                    <a:pt x="71080" y="133568"/>
                  </a:lnTo>
                  <a:lnTo>
                    <a:pt x="71080" y="133568"/>
                  </a:lnTo>
                  <a:lnTo>
                    <a:pt x="70057" y="132852"/>
                  </a:lnTo>
                  <a:lnTo>
                    <a:pt x="70364" y="132750"/>
                  </a:lnTo>
                  <a:lnTo>
                    <a:pt x="69852" y="132341"/>
                  </a:lnTo>
                  <a:lnTo>
                    <a:pt x="70159" y="131318"/>
                  </a:lnTo>
                  <a:lnTo>
                    <a:pt x="69750" y="131216"/>
                  </a:lnTo>
                  <a:lnTo>
                    <a:pt x="69955" y="131216"/>
                  </a:lnTo>
                  <a:lnTo>
                    <a:pt x="69955" y="131011"/>
                  </a:lnTo>
                  <a:lnTo>
                    <a:pt x="70670" y="131216"/>
                  </a:lnTo>
                  <a:lnTo>
                    <a:pt x="70670" y="131216"/>
                  </a:lnTo>
                  <a:lnTo>
                    <a:pt x="70466" y="130500"/>
                  </a:lnTo>
                  <a:lnTo>
                    <a:pt x="71591" y="129170"/>
                  </a:lnTo>
                  <a:lnTo>
                    <a:pt x="71182" y="129068"/>
                  </a:lnTo>
                  <a:lnTo>
                    <a:pt x="71284" y="128455"/>
                  </a:lnTo>
                  <a:lnTo>
                    <a:pt x="69443" y="127330"/>
                  </a:lnTo>
                  <a:lnTo>
                    <a:pt x="69852" y="126409"/>
                  </a:lnTo>
                  <a:lnTo>
                    <a:pt x="70159" y="126205"/>
                  </a:lnTo>
                  <a:lnTo>
                    <a:pt x="70670" y="126205"/>
                  </a:lnTo>
                  <a:lnTo>
                    <a:pt x="70568" y="124670"/>
                  </a:lnTo>
                  <a:lnTo>
                    <a:pt x="71182" y="124159"/>
                  </a:lnTo>
                  <a:lnTo>
                    <a:pt x="70568" y="123852"/>
                  </a:lnTo>
                  <a:lnTo>
                    <a:pt x="70977" y="123750"/>
                  </a:lnTo>
                  <a:lnTo>
                    <a:pt x="71284" y="124057"/>
                  </a:lnTo>
                  <a:lnTo>
                    <a:pt x="71284" y="124057"/>
                  </a:lnTo>
                  <a:lnTo>
                    <a:pt x="70977" y="123443"/>
                  </a:lnTo>
                  <a:lnTo>
                    <a:pt x="70773" y="123545"/>
                  </a:lnTo>
                  <a:lnTo>
                    <a:pt x="70364" y="123239"/>
                  </a:lnTo>
                  <a:lnTo>
                    <a:pt x="69955" y="122318"/>
                  </a:lnTo>
                  <a:lnTo>
                    <a:pt x="70057" y="122011"/>
                  </a:lnTo>
                  <a:lnTo>
                    <a:pt x="71182" y="122318"/>
                  </a:lnTo>
                  <a:lnTo>
                    <a:pt x="72205" y="122011"/>
                  </a:lnTo>
                  <a:lnTo>
                    <a:pt x="72000" y="121193"/>
                  </a:lnTo>
                  <a:lnTo>
                    <a:pt x="72102" y="120886"/>
                  </a:lnTo>
                  <a:lnTo>
                    <a:pt x="71898" y="120580"/>
                  </a:lnTo>
                  <a:lnTo>
                    <a:pt x="72000" y="120580"/>
                  </a:lnTo>
                  <a:lnTo>
                    <a:pt x="71693" y="120170"/>
                  </a:lnTo>
                  <a:lnTo>
                    <a:pt x="75477" y="119250"/>
                  </a:lnTo>
                  <a:lnTo>
                    <a:pt x="75886" y="117716"/>
                  </a:lnTo>
                  <a:lnTo>
                    <a:pt x="73739" y="114545"/>
                  </a:lnTo>
                  <a:lnTo>
                    <a:pt x="73739" y="114034"/>
                  </a:lnTo>
                  <a:lnTo>
                    <a:pt x="73943" y="114034"/>
                  </a:lnTo>
                  <a:lnTo>
                    <a:pt x="73841" y="113420"/>
                  </a:lnTo>
                  <a:lnTo>
                    <a:pt x="74045" y="113932"/>
                  </a:lnTo>
                  <a:lnTo>
                    <a:pt x="73841" y="114341"/>
                  </a:lnTo>
                  <a:lnTo>
                    <a:pt x="74557" y="115466"/>
                  </a:lnTo>
                  <a:lnTo>
                    <a:pt x="77216" y="115875"/>
                  </a:lnTo>
                  <a:lnTo>
                    <a:pt x="79466" y="111580"/>
                  </a:lnTo>
                  <a:lnTo>
                    <a:pt x="79568" y="111682"/>
                  </a:lnTo>
                  <a:lnTo>
                    <a:pt x="79568" y="111273"/>
                  </a:lnTo>
                  <a:lnTo>
                    <a:pt x="79466" y="110966"/>
                  </a:lnTo>
                  <a:lnTo>
                    <a:pt x="79773" y="111273"/>
                  </a:lnTo>
                  <a:lnTo>
                    <a:pt x="79875" y="111273"/>
                  </a:lnTo>
                  <a:lnTo>
                    <a:pt x="79364" y="112500"/>
                  </a:lnTo>
                  <a:lnTo>
                    <a:pt x="79773" y="112193"/>
                  </a:lnTo>
                  <a:lnTo>
                    <a:pt x="80080" y="111170"/>
                  </a:lnTo>
                  <a:lnTo>
                    <a:pt x="79875" y="111273"/>
                  </a:lnTo>
                  <a:lnTo>
                    <a:pt x="79875" y="111273"/>
                  </a:lnTo>
                  <a:lnTo>
                    <a:pt x="81409" y="107898"/>
                  </a:lnTo>
                  <a:lnTo>
                    <a:pt x="81102" y="106159"/>
                  </a:lnTo>
                  <a:lnTo>
                    <a:pt x="81614" y="106057"/>
                  </a:lnTo>
                  <a:lnTo>
                    <a:pt x="81511" y="106159"/>
                  </a:lnTo>
                  <a:lnTo>
                    <a:pt x="85398" y="103705"/>
                  </a:lnTo>
                  <a:lnTo>
                    <a:pt x="85807" y="103602"/>
                  </a:lnTo>
                  <a:lnTo>
                    <a:pt x="85909" y="103398"/>
                  </a:lnTo>
                  <a:lnTo>
                    <a:pt x="86114" y="103705"/>
                  </a:lnTo>
                  <a:lnTo>
                    <a:pt x="86830" y="103602"/>
                  </a:lnTo>
                  <a:lnTo>
                    <a:pt x="86932" y="103091"/>
                  </a:lnTo>
                  <a:lnTo>
                    <a:pt x="87750" y="102580"/>
                  </a:lnTo>
                  <a:lnTo>
                    <a:pt x="89080" y="94398"/>
                  </a:lnTo>
                  <a:lnTo>
                    <a:pt x="89080" y="93170"/>
                  </a:lnTo>
                  <a:lnTo>
                    <a:pt x="89284" y="93068"/>
                  </a:lnTo>
                  <a:lnTo>
                    <a:pt x="89489" y="93375"/>
                  </a:lnTo>
                  <a:lnTo>
                    <a:pt x="90409" y="91534"/>
                  </a:lnTo>
                  <a:lnTo>
                    <a:pt x="90409" y="91739"/>
                  </a:lnTo>
                  <a:lnTo>
                    <a:pt x="92557" y="87136"/>
                  </a:lnTo>
                  <a:lnTo>
                    <a:pt x="91943" y="85398"/>
                  </a:lnTo>
                  <a:lnTo>
                    <a:pt x="84273" y="82739"/>
                  </a:lnTo>
                  <a:lnTo>
                    <a:pt x="84068" y="82943"/>
                  </a:lnTo>
                  <a:lnTo>
                    <a:pt x="83966" y="82534"/>
                  </a:lnTo>
                  <a:lnTo>
                    <a:pt x="83557" y="83352"/>
                  </a:lnTo>
                  <a:lnTo>
                    <a:pt x="83557" y="83352"/>
                  </a:lnTo>
                  <a:lnTo>
                    <a:pt x="83659" y="82636"/>
                  </a:lnTo>
                  <a:lnTo>
                    <a:pt x="83557" y="82330"/>
                  </a:lnTo>
                  <a:lnTo>
                    <a:pt x="83557" y="81818"/>
                  </a:lnTo>
                  <a:lnTo>
                    <a:pt x="80591" y="80795"/>
                  </a:lnTo>
                  <a:lnTo>
                    <a:pt x="79057" y="82739"/>
                  </a:lnTo>
                  <a:lnTo>
                    <a:pt x="79364" y="81818"/>
                  </a:lnTo>
                  <a:lnTo>
                    <a:pt x="78341" y="82125"/>
                  </a:lnTo>
                  <a:lnTo>
                    <a:pt x="77932" y="81307"/>
                  </a:lnTo>
                  <a:lnTo>
                    <a:pt x="77625" y="81205"/>
                  </a:lnTo>
                  <a:lnTo>
                    <a:pt x="77011" y="81614"/>
                  </a:lnTo>
                  <a:lnTo>
                    <a:pt x="76295" y="81614"/>
                  </a:lnTo>
                  <a:lnTo>
                    <a:pt x="78852" y="78750"/>
                  </a:lnTo>
                  <a:lnTo>
                    <a:pt x="77216" y="75375"/>
                  </a:lnTo>
                  <a:lnTo>
                    <a:pt x="77011" y="75580"/>
                  </a:lnTo>
                  <a:lnTo>
                    <a:pt x="76807" y="75068"/>
                  </a:lnTo>
                  <a:lnTo>
                    <a:pt x="76705" y="75170"/>
                  </a:lnTo>
                  <a:lnTo>
                    <a:pt x="75273" y="74148"/>
                  </a:lnTo>
                  <a:lnTo>
                    <a:pt x="75068" y="74557"/>
                  </a:lnTo>
                  <a:lnTo>
                    <a:pt x="74455" y="73841"/>
                  </a:lnTo>
                  <a:lnTo>
                    <a:pt x="73432" y="74148"/>
                  </a:lnTo>
                  <a:lnTo>
                    <a:pt x="72614" y="73943"/>
                  </a:lnTo>
                  <a:lnTo>
                    <a:pt x="72307" y="74352"/>
                  </a:lnTo>
                  <a:lnTo>
                    <a:pt x="72307" y="73739"/>
                  </a:lnTo>
                  <a:lnTo>
                    <a:pt x="71284" y="72920"/>
                  </a:lnTo>
                  <a:lnTo>
                    <a:pt x="70977" y="73432"/>
                  </a:lnTo>
                  <a:lnTo>
                    <a:pt x="70977" y="73432"/>
                  </a:lnTo>
                  <a:lnTo>
                    <a:pt x="71080" y="72307"/>
                  </a:lnTo>
                  <a:lnTo>
                    <a:pt x="69852" y="71284"/>
                  </a:lnTo>
                  <a:lnTo>
                    <a:pt x="68420" y="71182"/>
                  </a:lnTo>
                  <a:lnTo>
                    <a:pt x="68830" y="70875"/>
                  </a:lnTo>
                  <a:lnTo>
                    <a:pt x="69034" y="70568"/>
                  </a:lnTo>
                  <a:lnTo>
                    <a:pt x="68932" y="70159"/>
                  </a:lnTo>
                  <a:lnTo>
                    <a:pt x="68420" y="69852"/>
                  </a:lnTo>
                  <a:lnTo>
                    <a:pt x="68318" y="69955"/>
                  </a:lnTo>
                  <a:lnTo>
                    <a:pt x="68318" y="70159"/>
                  </a:lnTo>
                  <a:lnTo>
                    <a:pt x="67909" y="69852"/>
                  </a:lnTo>
                  <a:lnTo>
                    <a:pt x="67807" y="69955"/>
                  </a:lnTo>
                  <a:lnTo>
                    <a:pt x="67602" y="69545"/>
                  </a:lnTo>
                  <a:lnTo>
                    <a:pt x="67398" y="69648"/>
                  </a:lnTo>
                  <a:lnTo>
                    <a:pt x="67295" y="69239"/>
                  </a:lnTo>
                  <a:lnTo>
                    <a:pt x="68216" y="69034"/>
                  </a:lnTo>
                  <a:lnTo>
                    <a:pt x="66068" y="69136"/>
                  </a:lnTo>
                  <a:lnTo>
                    <a:pt x="66068" y="69239"/>
                  </a:lnTo>
                  <a:lnTo>
                    <a:pt x="66580" y="69239"/>
                  </a:lnTo>
                  <a:lnTo>
                    <a:pt x="65045" y="69648"/>
                  </a:lnTo>
                  <a:lnTo>
                    <a:pt x="64636" y="69443"/>
                  </a:lnTo>
                  <a:lnTo>
                    <a:pt x="64432" y="69136"/>
                  </a:lnTo>
                  <a:lnTo>
                    <a:pt x="62489" y="69136"/>
                  </a:lnTo>
                  <a:lnTo>
                    <a:pt x="62284" y="68523"/>
                  </a:lnTo>
                  <a:lnTo>
                    <a:pt x="61466" y="68216"/>
                  </a:lnTo>
                  <a:lnTo>
                    <a:pt x="61159" y="67705"/>
                  </a:lnTo>
                  <a:lnTo>
                    <a:pt x="60750" y="67705"/>
                  </a:lnTo>
                  <a:lnTo>
                    <a:pt x="61159" y="68114"/>
                  </a:lnTo>
                  <a:lnTo>
                    <a:pt x="59727" y="68727"/>
                  </a:lnTo>
                  <a:lnTo>
                    <a:pt x="59523" y="69239"/>
                  </a:lnTo>
                  <a:lnTo>
                    <a:pt x="59932" y="70057"/>
                  </a:lnTo>
                  <a:lnTo>
                    <a:pt x="59625" y="70670"/>
                  </a:lnTo>
                  <a:lnTo>
                    <a:pt x="59216" y="70364"/>
                  </a:lnTo>
                  <a:lnTo>
                    <a:pt x="59114" y="69648"/>
                  </a:lnTo>
                  <a:lnTo>
                    <a:pt x="59420" y="69239"/>
                  </a:lnTo>
                  <a:lnTo>
                    <a:pt x="59318" y="68727"/>
                  </a:lnTo>
                  <a:lnTo>
                    <a:pt x="59420" y="68727"/>
                  </a:lnTo>
                  <a:lnTo>
                    <a:pt x="59216" y="68114"/>
                  </a:lnTo>
                  <a:lnTo>
                    <a:pt x="59830" y="67807"/>
                  </a:lnTo>
                  <a:lnTo>
                    <a:pt x="59625" y="67295"/>
                  </a:lnTo>
                  <a:lnTo>
                    <a:pt x="56966" y="68932"/>
                  </a:lnTo>
                  <a:lnTo>
                    <a:pt x="56966" y="68727"/>
                  </a:lnTo>
                  <a:lnTo>
                    <a:pt x="56557" y="68625"/>
                  </a:lnTo>
                  <a:lnTo>
                    <a:pt x="55739" y="69648"/>
                  </a:lnTo>
                  <a:lnTo>
                    <a:pt x="55841" y="69545"/>
                  </a:lnTo>
                  <a:lnTo>
                    <a:pt x="55534" y="70364"/>
                  </a:lnTo>
                  <a:lnTo>
                    <a:pt x="54614" y="71182"/>
                  </a:lnTo>
                  <a:lnTo>
                    <a:pt x="54511" y="71898"/>
                  </a:lnTo>
                  <a:lnTo>
                    <a:pt x="52977" y="70364"/>
                  </a:lnTo>
                  <a:lnTo>
                    <a:pt x="52057" y="70261"/>
                  </a:lnTo>
                  <a:lnTo>
                    <a:pt x="51034" y="70875"/>
                  </a:lnTo>
                  <a:lnTo>
                    <a:pt x="50011" y="70670"/>
                  </a:lnTo>
                  <a:lnTo>
                    <a:pt x="50011" y="70670"/>
                  </a:lnTo>
                  <a:lnTo>
                    <a:pt x="50114" y="70875"/>
                  </a:lnTo>
                  <a:lnTo>
                    <a:pt x="48375" y="68420"/>
                  </a:lnTo>
                  <a:lnTo>
                    <a:pt x="48580" y="67602"/>
                  </a:lnTo>
                  <a:lnTo>
                    <a:pt x="48682" y="67705"/>
                  </a:lnTo>
                  <a:lnTo>
                    <a:pt x="48784" y="66989"/>
                  </a:lnTo>
                  <a:lnTo>
                    <a:pt x="48784" y="67193"/>
                  </a:lnTo>
                  <a:lnTo>
                    <a:pt x="49193" y="64739"/>
                  </a:lnTo>
                  <a:lnTo>
                    <a:pt x="48989" y="64330"/>
                  </a:lnTo>
                  <a:lnTo>
                    <a:pt x="48580" y="64125"/>
                  </a:lnTo>
                  <a:lnTo>
                    <a:pt x="48886" y="64227"/>
                  </a:lnTo>
                  <a:lnTo>
                    <a:pt x="48273" y="63716"/>
                  </a:lnTo>
                  <a:lnTo>
                    <a:pt x="44284" y="63614"/>
                  </a:lnTo>
                  <a:lnTo>
                    <a:pt x="45000" y="62795"/>
                  </a:lnTo>
                  <a:lnTo>
                    <a:pt x="45102" y="61159"/>
                  </a:lnTo>
                  <a:lnTo>
                    <a:pt x="45409" y="60648"/>
                  </a:lnTo>
                  <a:lnTo>
                    <a:pt x="45511" y="61261"/>
                  </a:lnTo>
                  <a:lnTo>
                    <a:pt x="46023" y="60136"/>
                  </a:lnTo>
                  <a:lnTo>
                    <a:pt x="45818" y="60239"/>
                  </a:lnTo>
                  <a:lnTo>
                    <a:pt x="46125" y="59932"/>
                  </a:lnTo>
                  <a:lnTo>
                    <a:pt x="46125" y="59625"/>
                  </a:lnTo>
                  <a:lnTo>
                    <a:pt x="46534" y="58807"/>
                  </a:lnTo>
                  <a:lnTo>
                    <a:pt x="46432" y="57989"/>
                  </a:lnTo>
                  <a:lnTo>
                    <a:pt x="43875" y="58295"/>
                  </a:lnTo>
                  <a:lnTo>
                    <a:pt x="42955" y="60239"/>
                  </a:lnTo>
                  <a:lnTo>
                    <a:pt x="42341" y="60648"/>
                  </a:lnTo>
                  <a:lnTo>
                    <a:pt x="42545" y="60648"/>
                  </a:lnTo>
                  <a:lnTo>
                    <a:pt x="42443" y="60955"/>
                  </a:lnTo>
                  <a:lnTo>
                    <a:pt x="39477" y="61261"/>
                  </a:lnTo>
                  <a:lnTo>
                    <a:pt x="38557" y="60750"/>
                  </a:lnTo>
                  <a:lnTo>
                    <a:pt x="38557" y="60750"/>
                  </a:lnTo>
                  <a:lnTo>
                    <a:pt x="38659" y="60852"/>
                  </a:lnTo>
                  <a:lnTo>
                    <a:pt x="38659" y="60852"/>
                  </a:lnTo>
                  <a:lnTo>
                    <a:pt x="38352" y="60648"/>
                  </a:lnTo>
                  <a:lnTo>
                    <a:pt x="38352" y="60648"/>
                  </a:lnTo>
                  <a:lnTo>
                    <a:pt x="38557" y="60750"/>
                  </a:lnTo>
                  <a:lnTo>
                    <a:pt x="37432" y="57989"/>
                  </a:lnTo>
                  <a:lnTo>
                    <a:pt x="37432" y="58193"/>
                  </a:lnTo>
                  <a:lnTo>
                    <a:pt x="37227" y="57375"/>
                  </a:lnTo>
                  <a:lnTo>
                    <a:pt x="37432" y="57989"/>
                  </a:lnTo>
                  <a:lnTo>
                    <a:pt x="38455" y="52159"/>
                  </a:lnTo>
                  <a:lnTo>
                    <a:pt x="38250" y="51750"/>
                  </a:lnTo>
                  <a:lnTo>
                    <a:pt x="38761" y="51545"/>
                  </a:lnTo>
                  <a:lnTo>
                    <a:pt x="38761" y="51341"/>
                  </a:lnTo>
                  <a:lnTo>
                    <a:pt x="39068" y="51136"/>
                  </a:lnTo>
                  <a:lnTo>
                    <a:pt x="38966" y="51136"/>
                  </a:lnTo>
                  <a:lnTo>
                    <a:pt x="39170" y="51034"/>
                  </a:lnTo>
                  <a:lnTo>
                    <a:pt x="39375" y="50830"/>
                  </a:lnTo>
                  <a:lnTo>
                    <a:pt x="39682" y="50727"/>
                  </a:lnTo>
                  <a:lnTo>
                    <a:pt x="39580" y="50523"/>
                  </a:lnTo>
                  <a:lnTo>
                    <a:pt x="40091" y="50625"/>
                  </a:lnTo>
                  <a:lnTo>
                    <a:pt x="41216" y="49909"/>
                  </a:lnTo>
                  <a:lnTo>
                    <a:pt x="41216" y="49705"/>
                  </a:lnTo>
                  <a:lnTo>
                    <a:pt x="41420" y="49398"/>
                  </a:lnTo>
                  <a:lnTo>
                    <a:pt x="41420" y="49602"/>
                  </a:lnTo>
                  <a:lnTo>
                    <a:pt x="41625" y="49602"/>
                  </a:lnTo>
                  <a:lnTo>
                    <a:pt x="41318" y="49807"/>
                  </a:lnTo>
                  <a:lnTo>
                    <a:pt x="42341" y="49193"/>
                  </a:lnTo>
                  <a:lnTo>
                    <a:pt x="43773" y="49602"/>
                  </a:lnTo>
                  <a:lnTo>
                    <a:pt x="43977" y="49398"/>
                  </a:lnTo>
                  <a:lnTo>
                    <a:pt x="44489" y="49602"/>
                  </a:lnTo>
                  <a:lnTo>
                    <a:pt x="44489" y="49909"/>
                  </a:lnTo>
                  <a:lnTo>
                    <a:pt x="44386" y="49909"/>
                  </a:lnTo>
                  <a:lnTo>
                    <a:pt x="45205" y="50114"/>
                  </a:lnTo>
                  <a:lnTo>
                    <a:pt x="45409" y="49705"/>
                  </a:lnTo>
                  <a:lnTo>
                    <a:pt x="45920" y="50216"/>
                  </a:lnTo>
                  <a:lnTo>
                    <a:pt x="46125" y="50216"/>
                  </a:lnTo>
                  <a:lnTo>
                    <a:pt x="45818" y="49705"/>
                  </a:lnTo>
                  <a:lnTo>
                    <a:pt x="46227" y="49091"/>
                  </a:lnTo>
                  <a:lnTo>
                    <a:pt x="46227" y="49091"/>
                  </a:lnTo>
                  <a:lnTo>
                    <a:pt x="45920" y="49295"/>
                  </a:lnTo>
                  <a:lnTo>
                    <a:pt x="46023" y="48989"/>
                  </a:lnTo>
                  <a:lnTo>
                    <a:pt x="45307" y="49091"/>
                  </a:lnTo>
                  <a:lnTo>
                    <a:pt x="47557" y="48477"/>
                  </a:lnTo>
                  <a:lnTo>
                    <a:pt x="47557" y="48477"/>
                  </a:lnTo>
                  <a:lnTo>
                    <a:pt x="47455" y="48989"/>
                  </a:lnTo>
                  <a:lnTo>
                    <a:pt x="47966" y="48784"/>
                  </a:lnTo>
                  <a:lnTo>
                    <a:pt x="47966" y="48886"/>
                  </a:lnTo>
                  <a:lnTo>
                    <a:pt x="48477" y="48580"/>
                  </a:lnTo>
                  <a:lnTo>
                    <a:pt x="48477" y="48580"/>
                  </a:lnTo>
                  <a:lnTo>
                    <a:pt x="48170" y="48886"/>
                  </a:lnTo>
                  <a:lnTo>
                    <a:pt x="48886" y="48784"/>
                  </a:lnTo>
                  <a:lnTo>
                    <a:pt x="49602" y="48886"/>
                  </a:lnTo>
                  <a:lnTo>
                    <a:pt x="49500" y="49091"/>
                  </a:lnTo>
                  <a:lnTo>
                    <a:pt x="49655" y="49401"/>
                  </a:lnTo>
                  <a:lnTo>
                    <a:pt x="49655" y="49401"/>
                  </a:lnTo>
                  <a:lnTo>
                    <a:pt x="51239" y="49500"/>
                  </a:lnTo>
                  <a:lnTo>
                    <a:pt x="51750" y="50216"/>
                  </a:lnTo>
                  <a:lnTo>
                    <a:pt x="51443" y="51545"/>
                  </a:lnTo>
                  <a:lnTo>
                    <a:pt x="51648" y="51239"/>
                  </a:lnTo>
                  <a:lnTo>
                    <a:pt x="51852" y="51341"/>
                  </a:lnTo>
                  <a:lnTo>
                    <a:pt x="51443" y="51750"/>
                  </a:lnTo>
                  <a:lnTo>
                    <a:pt x="52670" y="54102"/>
                  </a:lnTo>
                  <a:lnTo>
                    <a:pt x="52875" y="54102"/>
                  </a:lnTo>
                  <a:lnTo>
                    <a:pt x="53485" y="53390"/>
                  </a:lnTo>
                  <a:lnTo>
                    <a:pt x="53485" y="53390"/>
                  </a:lnTo>
                  <a:lnTo>
                    <a:pt x="53403" y="50915"/>
                  </a:lnTo>
                  <a:lnTo>
                    <a:pt x="53591" y="50727"/>
                  </a:lnTo>
                  <a:lnTo>
                    <a:pt x="53489" y="47761"/>
                  </a:lnTo>
                  <a:lnTo>
                    <a:pt x="53693" y="47659"/>
                  </a:lnTo>
                  <a:lnTo>
                    <a:pt x="54307" y="46636"/>
                  </a:lnTo>
                  <a:lnTo>
                    <a:pt x="54307" y="46841"/>
                  </a:lnTo>
                  <a:lnTo>
                    <a:pt x="54409" y="46739"/>
                  </a:lnTo>
                  <a:lnTo>
                    <a:pt x="54409" y="46636"/>
                  </a:lnTo>
                  <a:lnTo>
                    <a:pt x="55841" y="45716"/>
                  </a:lnTo>
                  <a:lnTo>
                    <a:pt x="55841" y="45818"/>
                  </a:lnTo>
                  <a:lnTo>
                    <a:pt x="57170" y="44898"/>
                  </a:lnTo>
                  <a:lnTo>
                    <a:pt x="57170" y="45102"/>
                  </a:lnTo>
                  <a:lnTo>
                    <a:pt x="57784" y="44284"/>
                  </a:lnTo>
                  <a:lnTo>
                    <a:pt x="58705" y="44080"/>
                  </a:lnTo>
                  <a:lnTo>
                    <a:pt x="58193" y="43875"/>
                  </a:lnTo>
                  <a:lnTo>
                    <a:pt x="58602" y="43875"/>
                  </a:lnTo>
                  <a:lnTo>
                    <a:pt x="58295" y="43466"/>
                  </a:lnTo>
                  <a:lnTo>
                    <a:pt x="59420" y="43364"/>
                  </a:lnTo>
                  <a:lnTo>
                    <a:pt x="59523" y="43057"/>
                  </a:lnTo>
                  <a:lnTo>
                    <a:pt x="59523" y="43057"/>
                  </a:lnTo>
                  <a:lnTo>
                    <a:pt x="59216" y="43364"/>
                  </a:lnTo>
                  <a:lnTo>
                    <a:pt x="58705" y="43057"/>
                  </a:lnTo>
                  <a:lnTo>
                    <a:pt x="58807" y="42750"/>
                  </a:lnTo>
                  <a:lnTo>
                    <a:pt x="59216" y="42852"/>
                  </a:lnTo>
                  <a:lnTo>
                    <a:pt x="59318" y="42750"/>
                  </a:lnTo>
                  <a:lnTo>
                    <a:pt x="59523" y="42852"/>
                  </a:lnTo>
                  <a:lnTo>
                    <a:pt x="59523" y="42545"/>
                  </a:lnTo>
                  <a:lnTo>
                    <a:pt x="59420" y="42034"/>
                  </a:lnTo>
                  <a:lnTo>
                    <a:pt x="59216" y="41932"/>
                  </a:lnTo>
                  <a:lnTo>
                    <a:pt x="58705" y="41625"/>
                  </a:lnTo>
                  <a:lnTo>
                    <a:pt x="59114" y="41727"/>
                  </a:lnTo>
                  <a:lnTo>
                    <a:pt x="59216" y="41932"/>
                  </a:lnTo>
                  <a:lnTo>
                    <a:pt x="59216" y="41932"/>
                  </a:lnTo>
                  <a:lnTo>
                    <a:pt x="59114" y="41420"/>
                  </a:lnTo>
                  <a:lnTo>
                    <a:pt x="59420" y="41420"/>
                  </a:lnTo>
                  <a:lnTo>
                    <a:pt x="59523" y="41318"/>
                  </a:lnTo>
                  <a:lnTo>
                    <a:pt x="59011" y="40705"/>
                  </a:lnTo>
                  <a:lnTo>
                    <a:pt x="59523" y="41216"/>
                  </a:lnTo>
                  <a:lnTo>
                    <a:pt x="59523" y="40807"/>
                  </a:lnTo>
                  <a:lnTo>
                    <a:pt x="58909" y="40500"/>
                  </a:lnTo>
                  <a:lnTo>
                    <a:pt x="59318" y="39989"/>
                  </a:lnTo>
                  <a:lnTo>
                    <a:pt x="59011" y="40500"/>
                  </a:lnTo>
                  <a:lnTo>
                    <a:pt x="59216" y="40398"/>
                  </a:lnTo>
                  <a:lnTo>
                    <a:pt x="59216" y="40602"/>
                  </a:lnTo>
                  <a:lnTo>
                    <a:pt x="59318" y="40500"/>
                  </a:lnTo>
                  <a:lnTo>
                    <a:pt x="59625" y="40807"/>
                  </a:lnTo>
                  <a:lnTo>
                    <a:pt x="59523" y="40295"/>
                  </a:lnTo>
                  <a:lnTo>
                    <a:pt x="59727" y="40500"/>
                  </a:lnTo>
                  <a:lnTo>
                    <a:pt x="59830" y="39580"/>
                  </a:lnTo>
                  <a:lnTo>
                    <a:pt x="60034" y="39477"/>
                  </a:lnTo>
                  <a:lnTo>
                    <a:pt x="60034" y="39580"/>
                  </a:lnTo>
                  <a:lnTo>
                    <a:pt x="60136" y="39375"/>
                  </a:lnTo>
                  <a:lnTo>
                    <a:pt x="60136" y="39477"/>
                  </a:lnTo>
                  <a:lnTo>
                    <a:pt x="60443" y="39273"/>
                  </a:lnTo>
                  <a:lnTo>
                    <a:pt x="60443" y="39375"/>
                  </a:lnTo>
                  <a:lnTo>
                    <a:pt x="60341" y="39477"/>
                  </a:lnTo>
                  <a:lnTo>
                    <a:pt x="60443" y="39477"/>
                  </a:lnTo>
                  <a:lnTo>
                    <a:pt x="60034" y="39784"/>
                  </a:lnTo>
                  <a:lnTo>
                    <a:pt x="60136" y="39784"/>
                  </a:lnTo>
                  <a:lnTo>
                    <a:pt x="59830" y="40193"/>
                  </a:lnTo>
                  <a:lnTo>
                    <a:pt x="60136" y="40295"/>
                  </a:lnTo>
                  <a:lnTo>
                    <a:pt x="60136" y="40500"/>
                  </a:lnTo>
                  <a:lnTo>
                    <a:pt x="60034" y="40705"/>
                  </a:lnTo>
                  <a:lnTo>
                    <a:pt x="60034" y="40909"/>
                  </a:lnTo>
                  <a:lnTo>
                    <a:pt x="60136" y="40909"/>
                  </a:lnTo>
                  <a:lnTo>
                    <a:pt x="59727" y="41830"/>
                  </a:lnTo>
                  <a:lnTo>
                    <a:pt x="60750" y="40500"/>
                  </a:lnTo>
                  <a:lnTo>
                    <a:pt x="60750" y="39375"/>
                  </a:lnTo>
                  <a:lnTo>
                    <a:pt x="61057" y="39886"/>
                  </a:lnTo>
                  <a:lnTo>
                    <a:pt x="62182" y="38864"/>
                  </a:lnTo>
                  <a:lnTo>
                    <a:pt x="62386" y="38455"/>
                  </a:lnTo>
                  <a:lnTo>
                    <a:pt x="62284" y="38250"/>
                  </a:lnTo>
                  <a:lnTo>
                    <a:pt x="62591" y="37636"/>
                  </a:lnTo>
                  <a:lnTo>
                    <a:pt x="62489" y="38148"/>
                  </a:lnTo>
                  <a:lnTo>
                    <a:pt x="64943" y="37125"/>
                  </a:lnTo>
                  <a:lnTo>
                    <a:pt x="65045" y="37227"/>
                  </a:lnTo>
                  <a:lnTo>
                    <a:pt x="65148" y="37125"/>
                  </a:lnTo>
                  <a:lnTo>
                    <a:pt x="65148" y="37125"/>
                  </a:lnTo>
                  <a:lnTo>
                    <a:pt x="65045" y="37432"/>
                  </a:lnTo>
                  <a:lnTo>
                    <a:pt x="65557" y="37227"/>
                  </a:lnTo>
                  <a:lnTo>
                    <a:pt x="65557" y="37227"/>
                  </a:lnTo>
                  <a:lnTo>
                    <a:pt x="65455" y="37330"/>
                  </a:lnTo>
                  <a:lnTo>
                    <a:pt x="66068" y="37227"/>
                  </a:lnTo>
                  <a:lnTo>
                    <a:pt x="65966" y="36818"/>
                  </a:lnTo>
                  <a:lnTo>
                    <a:pt x="65761" y="37125"/>
                  </a:lnTo>
                  <a:lnTo>
                    <a:pt x="65455" y="36614"/>
                  </a:lnTo>
                  <a:lnTo>
                    <a:pt x="66784" y="35080"/>
                  </a:lnTo>
                  <a:lnTo>
                    <a:pt x="66886" y="35182"/>
                  </a:lnTo>
                  <a:lnTo>
                    <a:pt x="66989" y="34977"/>
                  </a:lnTo>
                  <a:lnTo>
                    <a:pt x="66989" y="35080"/>
                  </a:lnTo>
                  <a:lnTo>
                    <a:pt x="67091" y="34875"/>
                  </a:lnTo>
                  <a:lnTo>
                    <a:pt x="67091" y="35080"/>
                  </a:lnTo>
                  <a:lnTo>
                    <a:pt x="67193" y="34977"/>
                  </a:lnTo>
                  <a:lnTo>
                    <a:pt x="68011" y="34364"/>
                  </a:lnTo>
                  <a:lnTo>
                    <a:pt x="68011" y="34466"/>
                  </a:lnTo>
                  <a:lnTo>
                    <a:pt x="67909" y="34568"/>
                  </a:lnTo>
                  <a:lnTo>
                    <a:pt x="68114" y="34670"/>
                  </a:lnTo>
                  <a:lnTo>
                    <a:pt x="68216" y="34364"/>
                  </a:lnTo>
                  <a:lnTo>
                    <a:pt x="68523" y="34568"/>
                  </a:lnTo>
                  <a:lnTo>
                    <a:pt x="69136" y="34261"/>
                  </a:lnTo>
                  <a:lnTo>
                    <a:pt x="69545" y="33648"/>
                  </a:lnTo>
                  <a:lnTo>
                    <a:pt x="70568" y="33443"/>
                  </a:lnTo>
                  <a:lnTo>
                    <a:pt x="70466" y="33545"/>
                  </a:lnTo>
                  <a:lnTo>
                    <a:pt x="71795" y="32932"/>
                  </a:lnTo>
                  <a:lnTo>
                    <a:pt x="72102" y="33034"/>
                  </a:lnTo>
                  <a:lnTo>
                    <a:pt x="71386" y="33443"/>
                  </a:lnTo>
                  <a:lnTo>
                    <a:pt x="72716" y="33443"/>
                  </a:lnTo>
                  <a:lnTo>
                    <a:pt x="71898" y="33852"/>
                  </a:lnTo>
                  <a:lnTo>
                    <a:pt x="71898" y="33545"/>
                  </a:lnTo>
                  <a:lnTo>
                    <a:pt x="71795" y="33545"/>
                  </a:lnTo>
                  <a:lnTo>
                    <a:pt x="70568" y="34261"/>
                  </a:lnTo>
                  <a:lnTo>
                    <a:pt x="70568" y="34261"/>
                  </a:lnTo>
                  <a:lnTo>
                    <a:pt x="70364" y="34364"/>
                  </a:lnTo>
                  <a:lnTo>
                    <a:pt x="69955" y="35182"/>
                  </a:lnTo>
                  <a:lnTo>
                    <a:pt x="70261" y="35386"/>
                  </a:lnTo>
                  <a:lnTo>
                    <a:pt x="71795" y="34364"/>
                  </a:lnTo>
                  <a:lnTo>
                    <a:pt x="71795" y="34466"/>
                  </a:lnTo>
                  <a:lnTo>
                    <a:pt x="71898" y="34261"/>
                  </a:lnTo>
                  <a:lnTo>
                    <a:pt x="74250" y="33648"/>
                  </a:lnTo>
                  <a:lnTo>
                    <a:pt x="74250" y="33443"/>
                  </a:lnTo>
                  <a:lnTo>
                    <a:pt x="74250" y="33136"/>
                  </a:lnTo>
                  <a:lnTo>
                    <a:pt x="73943" y="32932"/>
                  </a:lnTo>
                  <a:lnTo>
                    <a:pt x="73227" y="33239"/>
                  </a:lnTo>
                  <a:lnTo>
                    <a:pt x="73330" y="33136"/>
                  </a:lnTo>
                  <a:lnTo>
                    <a:pt x="72307" y="32830"/>
                  </a:lnTo>
                  <a:lnTo>
                    <a:pt x="72511" y="32727"/>
                  </a:lnTo>
                  <a:lnTo>
                    <a:pt x="72000" y="32420"/>
                  </a:lnTo>
                  <a:lnTo>
                    <a:pt x="72000" y="31807"/>
                  </a:lnTo>
                  <a:lnTo>
                    <a:pt x="71693" y="31705"/>
                  </a:lnTo>
                  <a:lnTo>
                    <a:pt x="72409" y="31091"/>
                  </a:lnTo>
                  <a:lnTo>
                    <a:pt x="72146" y="31003"/>
                  </a:lnTo>
                  <a:lnTo>
                    <a:pt x="72146" y="31003"/>
                  </a:lnTo>
                  <a:lnTo>
                    <a:pt x="71795" y="31091"/>
                  </a:lnTo>
                  <a:lnTo>
                    <a:pt x="70875" y="30784"/>
                  </a:lnTo>
                  <a:lnTo>
                    <a:pt x="72102" y="30784"/>
                  </a:lnTo>
                  <a:lnTo>
                    <a:pt x="72818" y="29966"/>
                  </a:lnTo>
                  <a:lnTo>
                    <a:pt x="70568" y="29966"/>
                  </a:lnTo>
                  <a:lnTo>
                    <a:pt x="63307" y="33852"/>
                  </a:lnTo>
                  <a:lnTo>
                    <a:pt x="63307" y="33852"/>
                  </a:lnTo>
                  <a:lnTo>
                    <a:pt x="68114" y="31091"/>
                  </a:lnTo>
                  <a:lnTo>
                    <a:pt x="67602" y="30375"/>
                  </a:lnTo>
                  <a:lnTo>
                    <a:pt x="79977" y="27205"/>
                  </a:lnTo>
                  <a:lnTo>
                    <a:pt x="80795" y="26489"/>
                  </a:lnTo>
                  <a:lnTo>
                    <a:pt x="80591" y="26284"/>
                  </a:lnTo>
                  <a:lnTo>
                    <a:pt x="81000" y="26080"/>
                  </a:lnTo>
                  <a:lnTo>
                    <a:pt x="81205" y="25466"/>
                  </a:lnTo>
                  <a:lnTo>
                    <a:pt x="80898" y="25159"/>
                  </a:lnTo>
                  <a:lnTo>
                    <a:pt x="80080" y="25364"/>
                  </a:lnTo>
                  <a:lnTo>
                    <a:pt x="79977" y="25261"/>
                  </a:lnTo>
                  <a:lnTo>
                    <a:pt x="80386" y="24852"/>
                  </a:lnTo>
                  <a:lnTo>
                    <a:pt x="79875" y="24750"/>
                  </a:lnTo>
                  <a:lnTo>
                    <a:pt x="77727" y="25568"/>
                  </a:lnTo>
                  <a:lnTo>
                    <a:pt x="78034" y="25364"/>
                  </a:lnTo>
                  <a:lnTo>
                    <a:pt x="77830" y="25261"/>
                  </a:lnTo>
                  <a:lnTo>
                    <a:pt x="80182" y="24545"/>
                  </a:lnTo>
                  <a:lnTo>
                    <a:pt x="80182" y="24034"/>
                  </a:lnTo>
                  <a:lnTo>
                    <a:pt x="79773" y="24136"/>
                  </a:lnTo>
                  <a:lnTo>
                    <a:pt x="79261" y="23727"/>
                  </a:lnTo>
                  <a:lnTo>
                    <a:pt x="78648" y="24034"/>
                  </a:lnTo>
                  <a:lnTo>
                    <a:pt x="79159" y="23727"/>
                  </a:lnTo>
                  <a:lnTo>
                    <a:pt x="78852" y="23625"/>
                  </a:lnTo>
                  <a:lnTo>
                    <a:pt x="78239" y="23830"/>
                  </a:lnTo>
                  <a:lnTo>
                    <a:pt x="78648" y="23523"/>
                  </a:lnTo>
                  <a:lnTo>
                    <a:pt x="78648" y="23114"/>
                  </a:lnTo>
                  <a:lnTo>
                    <a:pt x="78545" y="23216"/>
                  </a:lnTo>
                  <a:lnTo>
                    <a:pt x="78443" y="23011"/>
                  </a:lnTo>
                  <a:lnTo>
                    <a:pt x="77932" y="22909"/>
                  </a:lnTo>
                  <a:lnTo>
                    <a:pt x="78136" y="22705"/>
                  </a:lnTo>
                  <a:lnTo>
                    <a:pt x="77830" y="22705"/>
                  </a:lnTo>
                  <a:lnTo>
                    <a:pt x="78136" y="22602"/>
                  </a:lnTo>
                  <a:lnTo>
                    <a:pt x="77727" y="22500"/>
                  </a:lnTo>
                  <a:lnTo>
                    <a:pt x="77932" y="22398"/>
                  </a:lnTo>
                  <a:lnTo>
                    <a:pt x="77523" y="22193"/>
                  </a:lnTo>
                  <a:lnTo>
                    <a:pt x="78341" y="22091"/>
                  </a:lnTo>
                  <a:lnTo>
                    <a:pt x="77727" y="21477"/>
                  </a:lnTo>
                  <a:lnTo>
                    <a:pt x="78341" y="21170"/>
                  </a:lnTo>
                  <a:lnTo>
                    <a:pt x="78034" y="20864"/>
                  </a:lnTo>
                  <a:lnTo>
                    <a:pt x="77420" y="20966"/>
                  </a:lnTo>
                  <a:lnTo>
                    <a:pt x="77420" y="20966"/>
                  </a:lnTo>
                  <a:lnTo>
                    <a:pt x="78136" y="20557"/>
                  </a:lnTo>
                  <a:lnTo>
                    <a:pt x="77318" y="20659"/>
                  </a:lnTo>
                  <a:lnTo>
                    <a:pt x="77318" y="20659"/>
                  </a:lnTo>
                  <a:lnTo>
                    <a:pt x="77932" y="20455"/>
                  </a:lnTo>
                  <a:lnTo>
                    <a:pt x="77727" y="20148"/>
                  </a:lnTo>
                  <a:lnTo>
                    <a:pt x="77932" y="20045"/>
                  </a:lnTo>
                  <a:lnTo>
                    <a:pt x="77318" y="20045"/>
                  </a:lnTo>
                  <a:lnTo>
                    <a:pt x="77727" y="19943"/>
                  </a:lnTo>
                  <a:lnTo>
                    <a:pt x="77523" y="19636"/>
                  </a:lnTo>
                  <a:lnTo>
                    <a:pt x="77727" y="19534"/>
                  </a:lnTo>
                  <a:lnTo>
                    <a:pt x="77625" y="19330"/>
                  </a:lnTo>
                  <a:lnTo>
                    <a:pt x="77420" y="19330"/>
                  </a:lnTo>
                  <a:lnTo>
                    <a:pt x="77216" y="19125"/>
                  </a:lnTo>
                  <a:lnTo>
                    <a:pt x="77216" y="18818"/>
                  </a:lnTo>
                  <a:lnTo>
                    <a:pt x="76705" y="19739"/>
                  </a:lnTo>
                  <a:lnTo>
                    <a:pt x="76398" y="19739"/>
                  </a:lnTo>
                  <a:lnTo>
                    <a:pt x="76295" y="20045"/>
                  </a:lnTo>
                  <a:lnTo>
                    <a:pt x="75580" y="20557"/>
                  </a:lnTo>
                  <a:lnTo>
                    <a:pt x="75477" y="20250"/>
                  </a:lnTo>
                  <a:lnTo>
                    <a:pt x="74148" y="21068"/>
                  </a:lnTo>
                  <a:lnTo>
                    <a:pt x="74250" y="20659"/>
                  </a:lnTo>
                  <a:lnTo>
                    <a:pt x="73943" y="20864"/>
                  </a:lnTo>
                  <a:lnTo>
                    <a:pt x="73841" y="20761"/>
                  </a:lnTo>
                  <a:lnTo>
                    <a:pt x="73739" y="20761"/>
                  </a:lnTo>
                  <a:lnTo>
                    <a:pt x="73943" y="20250"/>
                  </a:lnTo>
                  <a:lnTo>
                    <a:pt x="72716" y="20250"/>
                  </a:lnTo>
                  <a:lnTo>
                    <a:pt x="73534" y="19739"/>
                  </a:lnTo>
                  <a:lnTo>
                    <a:pt x="73330" y="19739"/>
                  </a:lnTo>
                  <a:lnTo>
                    <a:pt x="73534" y="19330"/>
                  </a:lnTo>
                  <a:lnTo>
                    <a:pt x="72920" y="19125"/>
                  </a:lnTo>
                  <a:lnTo>
                    <a:pt x="73636" y="19023"/>
                  </a:lnTo>
                  <a:lnTo>
                    <a:pt x="74148" y="18102"/>
                  </a:lnTo>
                  <a:lnTo>
                    <a:pt x="74148" y="18102"/>
                  </a:lnTo>
                  <a:lnTo>
                    <a:pt x="73841" y="18307"/>
                  </a:lnTo>
                  <a:lnTo>
                    <a:pt x="72716" y="17795"/>
                  </a:lnTo>
                  <a:lnTo>
                    <a:pt x="73023" y="17591"/>
                  </a:lnTo>
                  <a:lnTo>
                    <a:pt x="72511" y="17591"/>
                  </a:lnTo>
                  <a:lnTo>
                    <a:pt x="72000" y="16875"/>
                  </a:lnTo>
                  <a:lnTo>
                    <a:pt x="70364" y="17080"/>
                  </a:lnTo>
                  <a:lnTo>
                    <a:pt x="70466" y="16977"/>
                  </a:lnTo>
                  <a:lnTo>
                    <a:pt x="68932" y="16875"/>
                  </a:lnTo>
                  <a:lnTo>
                    <a:pt x="68727" y="17693"/>
                  </a:lnTo>
                  <a:lnTo>
                    <a:pt x="67909" y="18307"/>
                  </a:lnTo>
                  <a:lnTo>
                    <a:pt x="68318" y="18307"/>
                  </a:lnTo>
                  <a:lnTo>
                    <a:pt x="67909" y="19023"/>
                  </a:lnTo>
                  <a:lnTo>
                    <a:pt x="68114" y="19125"/>
                  </a:lnTo>
                  <a:lnTo>
                    <a:pt x="66580" y="20250"/>
                  </a:lnTo>
                  <a:lnTo>
                    <a:pt x="67193" y="21784"/>
                  </a:lnTo>
                  <a:lnTo>
                    <a:pt x="63511" y="24239"/>
                  </a:lnTo>
                  <a:lnTo>
                    <a:pt x="63716" y="24750"/>
                  </a:lnTo>
                  <a:lnTo>
                    <a:pt x="63614" y="24750"/>
                  </a:lnTo>
                  <a:lnTo>
                    <a:pt x="63716" y="25057"/>
                  </a:lnTo>
                  <a:lnTo>
                    <a:pt x="63307" y="26591"/>
                  </a:lnTo>
                  <a:lnTo>
                    <a:pt x="62693" y="27000"/>
                  </a:lnTo>
                  <a:lnTo>
                    <a:pt x="62795" y="27307"/>
                  </a:lnTo>
                  <a:lnTo>
                    <a:pt x="62489" y="27614"/>
                  </a:lnTo>
                  <a:lnTo>
                    <a:pt x="62386" y="27205"/>
                  </a:lnTo>
                  <a:lnTo>
                    <a:pt x="61977" y="27511"/>
                  </a:lnTo>
                  <a:lnTo>
                    <a:pt x="61977" y="28023"/>
                  </a:lnTo>
                  <a:lnTo>
                    <a:pt x="60955" y="27716"/>
                  </a:lnTo>
                  <a:lnTo>
                    <a:pt x="61364" y="27000"/>
                  </a:lnTo>
                  <a:lnTo>
                    <a:pt x="60648" y="26591"/>
                  </a:lnTo>
                  <a:lnTo>
                    <a:pt x="61466" y="24341"/>
                  </a:lnTo>
                  <a:lnTo>
                    <a:pt x="60852" y="23625"/>
                  </a:lnTo>
                  <a:lnTo>
                    <a:pt x="59420" y="23830"/>
                  </a:lnTo>
                  <a:lnTo>
                    <a:pt x="59216" y="23216"/>
                  </a:lnTo>
                  <a:lnTo>
                    <a:pt x="57682" y="22091"/>
                  </a:lnTo>
                  <a:lnTo>
                    <a:pt x="55227" y="21989"/>
                  </a:lnTo>
                  <a:lnTo>
                    <a:pt x="55330" y="21886"/>
                  </a:lnTo>
                  <a:lnTo>
                    <a:pt x="54920" y="22091"/>
                  </a:lnTo>
                  <a:lnTo>
                    <a:pt x="55636" y="20761"/>
                  </a:lnTo>
                  <a:lnTo>
                    <a:pt x="55534" y="20250"/>
                  </a:lnTo>
                  <a:lnTo>
                    <a:pt x="54614" y="20761"/>
                  </a:lnTo>
                  <a:lnTo>
                    <a:pt x="54920" y="20352"/>
                  </a:lnTo>
                  <a:lnTo>
                    <a:pt x="54716" y="20045"/>
                  </a:lnTo>
                  <a:lnTo>
                    <a:pt x="57580" y="17489"/>
                  </a:lnTo>
                  <a:lnTo>
                    <a:pt x="57580" y="17284"/>
                  </a:lnTo>
                  <a:lnTo>
                    <a:pt x="58091" y="16875"/>
                  </a:lnTo>
                  <a:lnTo>
                    <a:pt x="58398" y="17080"/>
                  </a:lnTo>
                  <a:lnTo>
                    <a:pt x="58398" y="16875"/>
                  </a:lnTo>
                  <a:lnTo>
                    <a:pt x="59114" y="16670"/>
                  </a:lnTo>
                  <a:lnTo>
                    <a:pt x="59216" y="16466"/>
                  </a:lnTo>
                  <a:lnTo>
                    <a:pt x="60136" y="16364"/>
                  </a:lnTo>
                  <a:lnTo>
                    <a:pt x="60239" y="15852"/>
                  </a:lnTo>
                  <a:lnTo>
                    <a:pt x="59830" y="15648"/>
                  </a:lnTo>
                  <a:lnTo>
                    <a:pt x="59420" y="15852"/>
                  </a:lnTo>
                  <a:lnTo>
                    <a:pt x="59727" y="15648"/>
                  </a:lnTo>
                  <a:lnTo>
                    <a:pt x="59011" y="15443"/>
                  </a:lnTo>
                  <a:lnTo>
                    <a:pt x="58909" y="15239"/>
                  </a:lnTo>
                  <a:lnTo>
                    <a:pt x="59932" y="15545"/>
                  </a:lnTo>
                  <a:lnTo>
                    <a:pt x="59932" y="15648"/>
                  </a:lnTo>
                  <a:lnTo>
                    <a:pt x="64227" y="14318"/>
                  </a:lnTo>
                  <a:lnTo>
                    <a:pt x="61670" y="13602"/>
                  </a:lnTo>
                  <a:lnTo>
                    <a:pt x="62693" y="13705"/>
                  </a:lnTo>
                  <a:lnTo>
                    <a:pt x="64330" y="14114"/>
                  </a:lnTo>
                  <a:lnTo>
                    <a:pt x="65455" y="13602"/>
                  </a:lnTo>
                  <a:lnTo>
                    <a:pt x="65250" y="13193"/>
                  </a:lnTo>
                  <a:lnTo>
                    <a:pt x="66170" y="13091"/>
                  </a:lnTo>
                  <a:lnTo>
                    <a:pt x="66375" y="13398"/>
                  </a:lnTo>
                  <a:lnTo>
                    <a:pt x="66784" y="13295"/>
                  </a:lnTo>
                  <a:lnTo>
                    <a:pt x="67091" y="13091"/>
                  </a:lnTo>
                  <a:lnTo>
                    <a:pt x="66580" y="12784"/>
                  </a:lnTo>
                  <a:lnTo>
                    <a:pt x="66580" y="12784"/>
                  </a:lnTo>
                  <a:lnTo>
                    <a:pt x="67091" y="12886"/>
                  </a:lnTo>
                  <a:lnTo>
                    <a:pt x="67398" y="13295"/>
                  </a:lnTo>
                  <a:lnTo>
                    <a:pt x="69545" y="12273"/>
                  </a:lnTo>
                  <a:lnTo>
                    <a:pt x="69443" y="11659"/>
                  </a:lnTo>
                  <a:lnTo>
                    <a:pt x="69955" y="11045"/>
                  </a:lnTo>
                  <a:lnTo>
                    <a:pt x="70568" y="10841"/>
                  </a:lnTo>
                  <a:lnTo>
                    <a:pt x="69955" y="10739"/>
                  </a:lnTo>
                  <a:lnTo>
                    <a:pt x="69852" y="10534"/>
                  </a:lnTo>
                  <a:lnTo>
                    <a:pt x="70159" y="10432"/>
                  </a:lnTo>
                  <a:lnTo>
                    <a:pt x="68216" y="10227"/>
                  </a:lnTo>
                  <a:lnTo>
                    <a:pt x="67909" y="10739"/>
                  </a:lnTo>
                  <a:lnTo>
                    <a:pt x="68114" y="10943"/>
                  </a:lnTo>
                  <a:lnTo>
                    <a:pt x="67807" y="11045"/>
                  </a:lnTo>
                  <a:lnTo>
                    <a:pt x="68011" y="11148"/>
                  </a:lnTo>
                  <a:lnTo>
                    <a:pt x="65352" y="12580"/>
                  </a:lnTo>
                  <a:lnTo>
                    <a:pt x="65148" y="11761"/>
                  </a:lnTo>
                  <a:lnTo>
                    <a:pt x="65352" y="11557"/>
                  </a:lnTo>
                  <a:lnTo>
                    <a:pt x="65455" y="11557"/>
                  </a:lnTo>
                  <a:lnTo>
                    <a:pt x="65864" y="11045"/>
                  </a:lnTo>
                  <a:lnTo>
                    <a:pt x="64841" y="11045"/>
                  </a:lnTo>
                  <a:lnTo>
                    <a:pt x="64023" y="11557"/>
                  </a:lnTo>
                  <a:lnTo>
                    <a:pt x="64023" y="11557"/>
                  </a:lnTo>
                  <a:lnTo>
                    <a:pt x="64125" y="10739"/>
                  </a:lnTo>
                  <a:lnTo>
                    <a:pt x="64739" y="10534"/>
                  </a:lnTo>
                  <a:lnTo>
                    <a:pt x="64125" y="10534"/>
                  </a:lnTo>
                  <a:lnTo>
                    <a:pt x="64432" y="10432"/>
                  </a:lnTo>
                  <a:lnTo>
                    <a:pt x="63307" y="10330"/>
                  </a:lnTo>
                  <a:lnTo>
                    <a:pt x="64125" y="10023"/>
                  </a:lnTo>
                  <a:lnTo>
                    <a:pt x="63818" y="10023"/>
                  </a:lnTo>
                  <a:lnTo>
                    <a:pt x="64330" y="9920"/>
                  </a:lnTo>
                  <a:lnTo>
                    <a:pt x="64125" y="9409"/>
                  </a:lnTo>
                  <a:lnTo>
                    <a:pt x="64432" y="9000"/>
                  </a:lnTo>
                  <a:lnTo>
                    <a:pt x="64227" y="8591"/>
                  </a:lnTo>
                  <a:lnTo>
                    <a:pt x="63920" y="838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0" name="Shape 1556"/>
            <p:cNvSpPr/>
            <p:nvPr/>
          </p:nvSpPr>
          <p:spPr>
            <a:xfrm>
              <a:off x="2067527" y="1419687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41" name="Shape 1557"/>
            <p:cNvSpPr/>
            <p:nvPr/>
          </p:nvSpPr>
          <p:spPr>
            <a:xfrm>
              <a:off x="3783647" y="2957509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49" name="Shape 1558"/>
            <p:cNvSpPr/>
            <p:nvPr/>
          </p:nvSpPr>
          <p:spPr>
            <a:xfrm>
              <a:off x="4898012" y="1098686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50" name="Shape 1559"/>
            <p:cNvSpPr/>
            <p:nvPr/>
          </p:nvSpPr>
          <p:spPr>
            <a:xfrm>
              <a:off x="5678066" y="3336392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51" name="Shape 1560"/>
            <p:cNvSpPr/>
            <p:nvPr/>
          </p:nvSpPr>
          <p:spPr>
            <a:xfrm>
              <a:off x="7951368" y="1620272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sp>
          <p:nvSpPr>
            <p:cNvPr id="52" name="Shape 1561"/>
            <p:cNvSpPr/>
            <p:nvPr/>
          </p:nvSpPr>
          <p:spPr>
            <a:xfrm>
              <a:off x="8720277" y="3436685"/>
              <a:ext cx="242259" cy="320995"/>
            </a:xfrm>
            <a:custGeom>
              <a:avLst/>
              <a:gdLst/>
              <a:ahLst/>
              <a:cxnLst/>
              <a:rect l="0" t="0" r="0" b="0"/>
              <a:pathLst>
                <a:path w="12018" h="15924" extrusionOk="0">
                  <a:moveTo>
                    <a:pt x="6278" y="3444"/>
                  </a:moveTo>
                  <a:lnTo>
                    <a:pt x="6522" y="3493"/>
                  </a:lnTo>
                  <a:lnTo>
                    <a:pt x="6766" y="3542"/>
                  </a:lnTo>
                  <a:lnTo>
                    <a:pt x="7010" y="3639"/>
                  </a:lnTo>
                  <a:lnTo>
                    <a:pt x="7230" y="3737"/>
                  </a:lnTo>
                  <a:lnTo>
                    <a:pt x="7450" y="3883"/>
                  </a:lnTo>
                  <a:lnTo>
                    <a:pt x="7645" y="4030"/>
                  </a:lnTo>
                  <a:lnTo>
                    <a:pt x="7816" y="4201"/>
                  </a:lnTo>
                  <a:lnTo>
                    <a:pt x="7987" y="4372"/>
                  </a:lnTo>
                  <a:lnTo>
                    <a:pt x="8134" y="4567"/>
                  </a:lnTo>
                  <a:lnTo>
                    <a:pt x="8280" y="4787"/>
                  </a:lnTo>
                  <a:lnTo>
                    <a:pt x="8378" y="5007"/>
                  </a:lnTo>
                  <a:lnTo>
                    <a:pt x="8476" y="5251"/>
                  </a:lnTo>
                  <a:lnTo>
                    <a:pt x="8525" y="5495"/>
                  </a:lnTo>
                  <a:lnTo>
                    <a:pt x="8573" y="5740"/>
                  </a:lnTo>
                  <a:lnTo>
                    <a:pt x="8573" y="6008"/>
                  </a:lnTo>
                  <a:lnTo>
                    <a:pt x="8573" y="6277"/>
                  </a:lnTo>
                  <a:lnTo>
                    <a:pt x="8525" y="6521"/>
                  </a:lnTo>
                  <a:lnTo>
                    <a:pt x="8476" y="6765"/>
                  </a:lnTo>
                  <a:lnTo>
                    <a:pt x="8378" y="7010"/>
                  </a:lnTo>
                  <a:lnTo>
                    <a:pt x="8280" y="7229"/>
                  </a:lnTo>
                  <a:lnTo>
                    <a:pt x="8134" y="7449"/>
                  </a:lnTo>
                  <a:lnTo>
                    <a:pt x="7987" y="7645"/>
                  </a:lnTo>
                  <a:lnTo>
                    <a:pt x="7816" y="7816"/>
                  </a:lnTo>
                  <a:lnTo>
                    <a:pt x="7645" y="7987"/>
                  </a:lnTo>
                  <a:lnTo>
                    <a:pt x="7450" y="8133"/>
                  </a:lnTo>
                  <a:lnTo>
                    <a:pt x="7230" y="8280"/>
                  </a:lnTo>
                  <a:lnTo>
                    <a:pt x="7010" y="8377"/>
                  </a:lnTo>
                  <a:lnTo>
                    <a:pt x="6766" y="8475"/>
                  </a:lnTo>
                  <a:lnTo>
                    <a:pt x="6522" y="8524"/>
                  </a:lnTo>
                  <a:lnTo>
                    <a:pt x="6278" y="8573"/>
                  </a:lnTo>
                  <a:lnTo>
                    <a:pt x="5740" y="8573"/>
                  </a:lnTo>
                  <a:lnTo>
                    <a:pt x="5496" y="8524"/>
                  </a:lnTo>
                  <a:lnTo>
                    <a:pt x="5252" y="8475"/>
                  </a:lnTo>
                  <a:lnTo>
                    <a:pt x="5008" y="8377"/>
                  </a:lnTo>
                  <a:lnTo>
                    <a:pt x="4788" y="8280"/>
                  </a:lnTo>
                  <a:lnTo>
                    <a:pt x="4568" y="8133"/>
                  </a:lnTo>
                  <a:lnTo>
                    <a:pt x="4373" y="7987"/>
                  </a:lnTo>
                  <a:lnTo>
                    <a:pt x="4202" y="7816"/>
                  </a:lnTo>
                  <a:lnTo>
                    <a:pt x="4031" y="7645"/>
                  </a:lnTo>
                  <a:lnTo>
                    <a:pt x="3884" y="7449"/>
                  </a:lnTo>
                  <a:lnTo>
                    <a:pt x="3738" y="7229"/>
                  </a:lnTo>
                  <a:lnTo>
                    <a:pt x="3640" y="7010"/>
                  </a:lnTo>
                  <a:lnTo>
                    <a:pt x="3542" y="6765"/>
                  </a:lnTo>
                  <a:lnTo>
                    <a:pt x="3493" y="6521"/>
                  </a:lnTo>
                  <a:lnTo>
                    <a:pt x="3445" y="6277"/>
                  </a:lnTo>
                  <a:lnTo>
                    <a:pt x="3445" y="6008"/>
                  </a:lnTo>
                  <a:lnTo>
                    <a:pt x="3445" y="5740"/>
                  </a:lnTo>
                  <a:lnTo>
                    <a:pt x="3493" y="5495"/>
                  </a:lnTo>
                  <a:lnTo>
                    <a:pt x="3542" y="5251"/>
                  </a:lnTo>
                  <a:lnTo>
                    <a:pt x="3640" y="5007"/>
                  </a:lnTo>
                  <a:lnTo>
                    <a:pt x="3738" y="4787"/>
                  </a:lnTo>
                  <a:lnTo>
                    <a:pt x="3884" y="4567"/>
                  </a:lnTo>
                  <a:lnTo>
                    <a:pt x="4031" y="4372"/>
                  </a:lnTo>
                  <a:lnTo>
                    <a:pt x="4202" y="4201"/>
                  </a:lnTo>
                  <a:lnTo>
                    <a:pt x="4373" y="4030"/>
                  </a:lnTo>
                  <a:lnTo>
                    <a:pt x="4568" y="3883"/>
                  </a:lnTo>
                  <a:lnTo>
                    <a:pt x="4788" y="3737"/>
                  </a:lnTo>
                  <a:lnTo>
                    <a:pt x="5008" y="3639"/>
                  </a:lnTo>
                  <a:lnTo>
                    <a:pt x="5252" y="3542"/>
                  </a:lnTo>
                  <a:lnTo>
                    <a:pt x="5496" y="3493"/>
                  </a:lnTo>
                  <a:lnTo>
                    <a:pt x="5740" y="3444"/>
                  </a:lnTo>
                  <a:close/>
                  <a:moveTo>
                    <a:pt x="5691" y="0"/>
                  </a:moveTo>
                  <a:lnTo>
                    <a:pt x="5398" y="25"/>
                  </a:lnTo>
                  <a:lnTo>
                    <a:pt x="5105" y="73"/>
                  </a:lnTo>
                  <a:lnTo>
                    <a:pt x="4788" y="122"/>
                  </a:lnTo>
                  <a:lnTo>
                    <a:pt x="4519" y="196"/>
                  </a:lnTo>
                  <a:lnTo>
                    <a:pt x="4226" y="269"/>
                  </a:lnTo>
                  <a:lnTo>
                    <a:pt x="3664" y="464"/>
                  </a:lnTo>
                  <a:lnTo>
                    <a:pt x="3152" y="733"/>
                  </a:lnTo>
                  <a:lnTo>
                    <a:pt x="2639" y="1026"/>
                  </a:lnTo>
                  <a:lnTo>
                    <a:pt x="2199" y="1368"/>
                  </a:lnTo>
                  <a:lnTo>
                    <a:pt x="1759" y="1759"/>
                  </a:lnTo>
                  <a:lnTo>
                    <a:pt x="1369" y="2198"/>
                  </a:lnTo>
                  <a:lnTo>
                    <a:pt x="1027" y="2638"/>
                  </a:lnTo>
                  <a:lnTo>
                    <a:pt x="734" y="3151"/>
                  </a:lnTo>
                  <a:lnTo>
                    <a:pt x="465" y="3664"/>
                  </a:lnTo>
                  <a:lnTo>
                    <a:pt x="270" y="4225"/>
                  </a:lnTo>
                  <a:lnTo>
                    <a:pt x="196" y="4518"/>
                  </a:lnTo>
                  <a:lnTo>
                    <a:pt x="123" y="4787"/>
                  </a:lnTo>
                  <a:lnTo>
                    <a:pt x="74" y="5105"/>
                  </a:lnTo>
                  <a:lnTo>
                    <a:pt x="25" y="5398"/>
                  </a:lnTo>
                  <a:lnTo>
                    <a:pt x="1" y="5691"/>
                  </a:lnTo>
                  <a:lnTo>
                    <a:pt x="1" y="6008"/>
                  </a:lnTo>
                  <a:lnTo>
                    <a:pt x="25" y="6448"/>
                  </a:lnTo>
                  <a:lnTo>
                    <a:pt x="74" y="6887"/>
                  </a:lnTo>
                  <a:lnTo>
                    <a:pt x="147" y="7352"/>
                  </a:lnTo>
                  <a:lnTo>
                    <a:pt x="270" y="7791"/>
                  </a:lnTo>
                  <a:lnTo>
                    <a:pt x="392" y="8231"/>
                  </a:lnTo>
                  <a:lnTo>
                    <a:pt x="563" y="8670"/>
                  </a:lnTo>
                  <a:lnTo>
                    <a:pt x="734" y="9110"/>
                  </a:lnTo>
                  <a:lnTo>
                    <a:pt x="929" y="9550"/>
                  </a:lnTo>
                  <a:lnTo>
                    <a:pt x="1149" y="9965"/>
                  </a:lnTo>
                  <a:lnTo>
                    <a:pt x="1393" y="10404"/>
                  </a:lnTo>
                  <a:lnTo>
                    <a:pt x="1906" y="11210"/>
                  </a:lnTo>
                  <a:lnTo>
                    <a:pt x="2443" y="11992"/>
                  </a:lnTo>
                  <a:lnTo>
                    <a:pt x="3005" y="12725"/>
                  </a:lnTo>
                  <a:lnTo>
                    <a:pt x="3567" y="13408"/>
                  </a:lnTo>
                  <a:lnTo>
                    <a:pt x="4104" y="14019"/>
                  </a:lnTo>
                  <a:lnTo>
                    <a:pt x="4617" y="14581"/>
                  </a:lnTo>
                  <a:lnTo>
                    <a:pt x="5081" y="15045"/>
                  </a:lnTo>
                  <a:lnTo>
                    <a:pt x="5740" y="15680"/>
                  </a:lnTo>
                  <a:lnTo>
                    <a:pt x="6009" y="15924"/>
                  </a:lnTo>
                  <a:lnTo>
                    <a:pt x="6278" y="15680"/>
                  </a:lnTo>
                  <a:lnTo>
                    <a:pt x="6937" y="15045"/>
                  </a:lnTo>
                  <a:lnTo>
                    <a:pt x="7401" y="14581"/>
                  </a:lnTo>
                  <a:lnTo>
                    <a:pt x="7914" y="14019"/>
                  </a:lnTo>
                  <a:lnTo>
                    <a:pt x="8451" y="13408"/>
                  </a:lnTo>
                  <a:lnTo>
                    <a:pt x="9013" y="12725"/>
                  </a:lnTo>
                  <a:lnTo>
                    <a:pt x="9575" y="11992"/>
                  </a:lnTo>
                  <a:lnTo>
                    <a:pt x="10112" y="11210"/>
                  </a:lnTo>
                  <a:lnTo>
                    <a:pt x="10625" y="10404"/>
                  </a:lnTo>
                  <a:lnTo>
                    <a:pt x="10869" y="9965"/>
                  </a:lnTo>
                  <a:lnTo>
                    <a:pt x="11089" y="9550"/>
                  </a:lnTo>
                  <a:lnTo>
                    <a:pt x="11284" y="9110"/>
                  </a:lnTo>
                  <a:lnTo>
                    <a:pt x="11455" y="8670"/>
                  </a:lnTo>
                  <a:lnTo>
                    <a:pt x="11626" y="8231"/>
                  </a:lnTo>
                  <a:lnTo>
                    <a:pt x="11748" y="7791"/>
                  </a:lnTo>
                  <a:lnTo>
                    <a:pt x="11871" y="7352"/>
                  </a:lnTo>
                  <a:lnTo>
                    <a:pt x="11944" y="6887"/>
                  </a:lnTo>
                  <a:lnTo>
                    <a:pt x="11993" y="6448"/>
                  </a:lnTo>
                  <a:lnTo>
                    <a:pt x="12017" y="6008"/>
                  </a:lnTo>
                  <a:lnTo>
                    <a:pt x="12017" y="5691"/>
                  </a:lnTo>
                  <a:lnTo>
                    <a:pt x="11993" y="5398"/>
                  </a:lnTo>
                  <a:lnTo>
                    <a:pt x="11944" y="5105"/>
                  </a:lnTo>
                  <a:lnTo>
                    <a:pt x="11895" y="4787"/>
                  </a:lnTo>
                  <a:lnTo>
                    <a:pt x="11822" y="4518"/>
                  </a:lnTo>
                  <a:lnTo>
                    <a:pt x="11748" y="4225"/>
                  </a:lnTo>
                  <a:lnTo>
                    <a:pt x="11553" y="3664"/>
                  </a:lnTo>
                  <a:lnTo>
                    <a:pt x="11284" y="3151"/>
                  </a:lnTo>
                  <a:lnTo>
                    <a:pt x="10991" y="2638"/>
                  </a:lnTo>
                  <a:lnTo>
                    <a:pt x="10649" y="2198"/>
                  </a:lnTo>
                  <a:lnTo>
                    <a:pt x="10259" y="1759"/>
                  </a:lnTo>
                  <a:lnTo>
                    <a:pt x="9819" y="1368"/>
                  </a:lnTo>
                  <a:lnTo>
                    <a:pt x="9379" y="1026"/>
                  </a:lnTo>
                  <a:lnTo>
                    <a:pt x="8866" y="733"/>
                  </a:lnTo>
                  <a:lnTo>
                    <a:pt x="8354" y="464"/>
                  </a:lnTo>
                  <a:lnTo>
                    <a:pt x="7792" y="269"/>
                  </a:lnTo>
                  <a:lnTo>
                    <a:pt x="7499" y="196"/>
                  </a:lnTo>
                  <a:lnTo>
                    <a:pt x="7230" y="122"/>
                  </a:lnTo>
                  <a:lnTo>
                    <a:pt x="6913" y="73"/>
                  </a:lnTo>
                  <a:lnTo>
                    <a:pt x="6620" y="25"/>
                  </a:lnTo>
                  <a:lnTo>
                    <a:pt x="6326" y="0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1"/>
              </a:solidFill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 rtl="0">
                <a:spcBef>
                  <a:spcPts val="0"/>
                </a:spcBef>
                <a:buNone/>
              </a:pPr>
              <a:endParaRPr>
                <a:solidFill>
                  <a:srgbClr val="00E1C6"/>
                </a:solidFill>
              </a:endParaRPr>
            </a:p>
          </p:txBody>
        </p:sp>
        <p:cxnSp>
          <p:nvCxnSpPr>
            <p:cNvPr id="57" name="Gerader Verbinder 56"/>
            <p:cNvCxnSpPr/>
            <p:nvPr/>
          </p:nvCxnSpPr>
          <p:spPr>
            <a:xfrm>
              <a:off x="2309786" y="1740682"/>
              <a:ext cx="1473861" cy="1216827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/>
            <p:cNvCxnSpPr/>
            <p:nvPr/>
          </p:nvCxnSpPr>
          <p:spPr>
            <a:xfrm flipV="1">
              <a:off x="2419048" y="1257274"/>
              <a:ext cx="2342062" cy="292100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/>
            <p:cNvCxnSpPr/>
            <p:nvPr/>
          </p:nvCxnSpPr>
          <p:spPr>
            <a:xfrm>
              <a:off x="4083076" y="3110833"/>
              <a:ext cx="1490790" cy="325852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/>
            <p:cNvCxnSpPr/>
            <p:nvPr/>
          </p:nvCxnSpPr>
          <p:spPr>
            <a:xfrm>
              <a:off x="5194986" y="1234027"/>
              <a:ext cx="2657065" cy="506655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/>
            <p:cNvCxnSpPr/>
            <p:nvPr/>
          </p:nvCxnSpPr>
          <p:spPr>
            <a:xfrm>
              <a:off x="6021272" y="3482059"/>
              <a:ext cx="2598058" cy="109812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/>
            <p:cNvCxnSpPr/>
            <p:nvPr/>
          </p:nvCxnSpPr>
          <p:spPr>
            <a:xfrm flipV="1">
              <a:off x="4018853" y="1419687"/>
              <a:ext cx="940195" cy="1528707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/>
            <p:cNvCxnSpPr/>
            <p:nvPr/>
          </p:nvCxnSpPr>
          <p:spPr>
            <a:xfrm flipH="1" flipV="1">
              <a:off x="5095669" y="1419681"/>
              <a:ext cx="639306" cy="1854079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/>
            <p:cNvCxnSpPr/>
            <p:nvPr/>
          </p:nvCxnSpPr>
          <p:spPr>
            <a:xfrm flipV="1">
              <a:off x="5971641" y="1941268"/>
              <a:ext cx="1984610" cy="1407664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/>
            <p:cNvCxnSpPr/>
            <p:nvPr/>
          </p:nvCxnSpPr>
          <p:spPr>
            <a:xfrm>
              <a:off x="8193627" y="1912427"/>
              <a:ext cx="647779" cy="1469352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5194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 3"/>
          <p:cNvGraphicFramePr>
            <a:graphicFrameLocks/>
          </p:cNvGraphicFramePr>
          <p:nvPr/>
        </p:nvGraphicFramePr>
        <p:xfrm>
          <a:off x="3941679" y="1319598"/>
          <a:ext cx="3269870" cy="25015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53261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8930" y="-1"/>
            <a:ext cx="6884215" cy="6480175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2655790" y="816896"/>
            <a:ext cx="4807112" cy="1131083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02" tIns="43201" rIns="86402" bIns="432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173">
              <a:solidFill>
                <a:schemeClr val="accent2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302294" y="1008028"/>
            <a:ext cx="1723705" cy="468666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6402" tIns="43201" rIns="86402" bIns="432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512" dirty="0">
                <a:solidFill>
                  <a:schemeClr val="tx1"/>
                </a:solidFill>
              </a:rPr>
              <a:t>Anlegen eines Wartungsvertrags</a:t>
            </a:r>
          </a:p>
        </p:txBody>
      </p:sp>
      <p:sp>
        <p:nvSpPr>
          <p:cNvPr id="9" name="Rechteck 8"/>
          <p:cNvSpPr/>
          <p:nvPr/>
        </p:nvSpPr>
        <p:spPr>
          <a:xfrm>
            <a:off x="3595744" y="2403557"/>
            <a:ext cx="4943261" cy="612669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02" tIns="43201" rIns="86402" bIns="432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173">
              <a:solidFill>
                <a:schemeClr val="accent2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63678" y="2475558"/>
            <a:ext cx="1723705" cy="468666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6402" tIns="43201" rIns="86402" bIns="432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512" dirty="0">
                <a:solidFill>
                  <a:schemeClr val="tx1"/>
                </a:solidFill>
              </a:rPr>
              <a:t>Akzeptieren eines Wartungsvertrags</a:t>
            </a:r>
          </a:p>
        </p:txBody>
      </p:sp>
      <p:sp>
        <p:nvSpPr>
          <p:cNvPr id="11" name="Rechteck 10"/>
          <p:cNvSpPr/>
          <p:nvPr/>
        </p:nvSpPr>
        <p:spPr>
          <a:xfrm>
            <a:off x="3595744" y="3409620"/>
            <a:ext cx="4943260" cy="761255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02" tIns="43201" rIns="86402" bIns="432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173">
              <a:solidFill>
                <a:schemeClr val="accent2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1963678" y="3563767"/>
            <a:ext cx="1723705" cy="468666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6402" tIns="43201" rIns="86402" bIns="432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512" dirty="0">
                <a:solidFill>
                  <a:schemeClr val="tx1"/>
                </a:solidFill>
              </a:rPr>
              <a:t>Eintragen der Wartungsschritte</a:t>
            </a:r>
          </a:p>
        </p:txBody>
      </p:sp>
      <p:sp>
        <p:nvSpPr>
          <p:cNvPr id="13" name="Rechteck 12"/>
          <p:cNvSpPr/>
          <p:nvPr/>
        </p:nvSpPr>
        <p:spPr>
          <a:xfrm>
            <a:off x="2655790" y="4716125"/>
            <a:ext cx="5757537" cy="701365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02" tIns="43201" rIns="86402" bIns="432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173">
              <a:solidFill>
                <a:schemeClr val="accent2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8341291" y="4832475"/>
            <a:ext cx="1723705" cy="468666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6402" tIns="43201" rIns="86402" bIns="432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512" dirty="0">
                <a:solidFill>
                  <a:schemeClr val="tx1"/>
                </a:solidFill>
              </a:rPr>
              <a:t>Schließen des Vertrages</a:t>
            </a:r>
          </a:p>
        </p:txBody>
      </p:sp>
    </p:spTree>
    <p:extLst>
      <p:ext uri="{BB962C8B-B14F-4D97-AF65-F5344CB8AC3E}">
        <p14:creationId xmlns:p14="http://schemas.microsoft.com/office/powerpoint/2010/main" val="1700497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6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72000" rIns="72000" bIns="72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/>
      <a:bodyPr/>
      <a:lstStyle/>
      <a:style>
        <a:lnRef idx="2">
          <a:schemeClr val="dk1"/>
        </a:lnRef>
        <a:fillRef idx="0">
          <a:schemeClr val="dk1"/>
        </a:fillRef>
        <a:effectRef idx="1">
          <a:schemeClr val="dk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-Systems_MASTER_16-9_DE_20161212" id="{8BCFFB36-3465-4817-8BCF-3AB2F3F068D9}" vid="{0B88D208-29C5-4D11-91EC-FBD9F2BEA6D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-Systems_Powerpoint-Master_DE_16x9</Template>
  <TotalTime>0</TotalTime>
  <Words>540</Words>
  <Application>Microsoft Office PowerPoint</Application>
  <PresentationFormat>Benutzerdefiniert</PresentationFormat>
  <Paragraphs>73</Paragraphs>
  <Slides>6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7" baseType="lpstr">
      <vt:lpstr>Arial</vt:lpstr>
      <vt:lpstr>Muli</vt:lpstr>
      <vt:lpstr>TeleGrotesk Headline</vt:lpstr>
      <vt:lpstr>TeleGrotesk Headline Ultra</vt:lpstr>
      <vt:lpstr>Tele-GroteskFet</vt:lpstr>
      <vt:lpstr>Tele-GroteskNor</vt:lpstr>
      <vt:lpstr>Tele-GroteskUlt</vt:lpstr>
      <vt:lpstr>Wingdings</vt:lpstr>
      <vt:lpstr>Wingdings 2</vt:lpstr>
      <vt:lpstr>Telekom 16:9 2016 D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r T-systems  PowerPoint-Master</dc:title>
  <dc:creator>Eric</dc:creator>
  <cp:lastModifiedBy>Eric Nagel</cp:lastModifiedBy>
  <cp:revision>76</cp:revision>
  <cp:lastPrinted>2016-10-04T09:12:04Z</cp:lastPrinted>
  <dcterms:created xsi:type="dcterms:W3CDTF">2017-09-14T07:30:50Z</dcterms:created>
  <dcterms:modified xsi:type="dcterms:W3CDTF">2018-02-16T11:21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083220</vt:lpwstr>
  </property>
  <property fmtid="{D5CDD505-2E9C-101B-9397-08002B2CF9AE}" pid="3" name="NXPowerLiteSettings">
    <vt:lpwstr>F88007B004F000</vt:lpwstr>
  </property>
  <property fmtid="{D5CDD505-2E9C-101B-9397-08002B2CF9AE}" pid="4" name="NXPowerLiteVersion">
    <vt:lpwstr>D6.2.12</vt:lpwstr>
  </property>
</Properties>
</file>